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727" r:id="rId2"/>
  </p:sldMasterIdLst>
  <p:notesMasterIdLst>
    <p:notesMasterId r:id="rId40"/>
  </p:notesMasterIdLst>
  <p:sldIdLst>
    <p:sldId id="393" r:id="rId3"/>
    <p:sldId id="412" r:id="rId4"/>
    <p:sldId id="526" r:id="rId5"/>
    <p:sldId id="528" r:id="rId6"/>
    <p:sldId id="369" r:id="rId7"/>
    <p:sldId id="529" r:id="rId8"/>
    <p:sldId id="534" r:id="rId9"/>
    <p:sldId id="535" r:id="rId10"/>
    <p:sldId id="530" r:id="rId11"/>
    <p:sldId id="368" r:id="rId12"/>
    <p:sldId id="370" r:id="rId13"/>
    <p:sldId id="371" r:id="rId14"/>
    <p:sldId id="372" r:id="rId15"/>
    <p:sldId id="373" r:id="rId16"/>
    <p:sldId id="374" r:id="rId17"/>
    <p:sldId id="376" r:id="rId18"/>
    <p:sldId id="405" r:id="rId19"/>
    <p:sldId id="541" r:id="rId20"/>
    <p:sldId id="531" r:id="rId21"/>
    <p:sldId id="382" r:id="rId22"/>
    <p:sldId id="384" r:id="rId23"/>
    <p:sldId id="404" r:id="rId24"/>
    <p:sldId id="383" r:id="rId25"/>
    <p:sldId id="385" r:id="rId26"/>
    <p:sldId id="406" r:id="rId27"/>
    <p:sldId id="408" r:id="rId28"/>
    <p:sldId id="409" r:id="rId29"/>
    <p:sldId id="410" r:id="rId30"/>
    <p:sldId id="536" r:id="rId31"/>
    <p:sldId id="537" r:id="rId32"/>
    <p:sldId id="538" r:id="rId33"/>
    <p:sldId id="533" r:id="rId34"/>
    <p:sldId id="539" r:id="rId35"/>
    <p:sldId id="540" r:id="rId36"/>
    <p:sldId id="403" r:id="rId37"/>
    <p:sldId id="407" r:id="rId38"/>
    <p:sldId id="394" r:id="rId39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87119" autoAdjust="0"/>
  </p:normalViewPr>
  <p:slideViewPr>
    <p:cSldViewPr snapToGrid="0">
      <p:cViewPr varScale="1">
        <p:scale>
          <a:sx n="83" d="100"/>
          <a:sy n="83" d="100"/>
        </p:scale>
        <p:origin x="696" y="8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55A229-8E1A-40D6-AA65-70E6EE03E666}" type="doc">
      <dgm:prSet loTypeId="urn:microsoft.com/office/officeart/2005/8/layout/vList5" loCatId="list" qsTypeId="urn:microsoft.com/office/officeart/2005/8/quickstyle/simple1" qsCatId="simple" csTypeId="urn:microsoft.com/office/officeart/2005/8/colors/accent2_2" csCatId="accent2"/>
      <dgm:spPr/>
      <dgm:t>
        <a:bodyPr/>
        <a:lstStyle/>
        <a:p>
          <a:endParaRPr lang="en-US"/>
        </a:p>
      </dgm:t>
    </dgm:pt>
    <dgm:pt modelId="{B30E3D82-B7F3-4873-8509-7DF8366D3834}">
      <dgm:prSet custT="1"/>
      <dgm:spPr/>
      <dgm:t>
        <a:bodyPr/>
        <a:lstStyle/>
        <a:p>
          <a:r>
            <a:rPr lang="en-US" sz="1800" dirty="0"/>
            <a:t>SSIS is on-premises</a:t>
          </a:r>
        </a:p>
      </dgm:t>
    </dgm:pt>
    <dgm:pt modelId="{E220D41C-9661-4AB6-8C29-CD78EB931DB7}" type="parTrans" cxnId="{8A822554-F960-4395-AF41-7B4EC6CE48C8}">
      <dgm:prSet/>
      <dgm:spPr/>
      <dgm:t>
        <a:bodyPr/>
        <a:lstStyle/>
        <a:p>
          <a:endParaRPr lang="en-US"/>
        </a:p>
      </dgm:t>
    </dgm:pt>
    <dgm:pt modelId="{6098B3AE-8632-4E05-A365-D34349ED6F23}" type="sibTrans" cxnId="{8A822554-F960-4395-AF41-7B4EC6CE48C8}">
      <dgm:prSet/>
      <dgm:spPr/>
      <dgm:t>
        <a:bodyPr/>
        <a:lstStyle/>
        <a:p>
          <a:endParaRPr lang="en-US"/>
        </a:p>
      </dgm:t>
    </dgm:pt>
    <dgm:pt modelId="{035B71F4-E9DE-4DD6-802B-3424F5E63367}">
      <dgm:prSet custT="1"/>
      <dgm:spPr/>
      <dgm:t>
        <a:bodyPr/>
        <a:lstStyle/>
        <a:p>
          <a:r>
            <a:rPr lang="en-US" sz="2000" dirty="0"/>
            <a:t>many up-front costs</a:t>
          </a:r>
        </a:p>
      </dgm:t>
    </dgm:pt>
    <dgm:pt modelId="{CB02B696-9DDD-4A35-BA8A-C24EC780771A}" type="parTrans" cxnId="{172B1094-F8A0-47B8-9D1C-AB95685D7511}">
      <dgm:prSet/>
      <dgm:spPr/>
      <dgm:t>
        <a:bodyPr/>
        <a:lstStyle/>
        <a:p>
          <a:endParaRPr lang="en-US"/>
        </a:p>
      </dgm:t>
    </dgm:pt>
    <dgm:pt modelId="{F47086AC-23EC-42CB-8A03-B0549371B351}" type="sibTrans" cxnId="{172B1094-F8A0-47B8-9D1C-AB95685D7511}">
      <dgm:prSet/>
      <dgm:spPr/>
      <dgm:t>
        <a:bodyPr/>
        <a:lstStyle/>
        <a:p>
          <a:endParaRPr lang="en-US"/>
        </a:p>
      </dgm:t>
    </dgm:pt>
    <dgm:pt modelId="{A28DD5D1-73C3-4475-866B-5737678358A6}">
      <dgm:prSet custT="1"/>
      <dgm:spPr/>
      <dgm:t>
        <a:bodyPr/>
        <a:lstStyle/>
        <a:p>
          <a:r>
            <a:rPr lang="en-US" sz="1600"/>
            <a:t>server</a:t>
          </a:r>
        </a:p>
      </dgm:t>
    </dgm:pt>
    <dgm:pt modelId="{0A27BB42-20D7-4A14-A8CF-3CD6F996E7A8}" type="parTrans" cxnId="{2C514F2E-F6CF-433F-851F-8D7C8DEE3410}">
      <dgm:prSet/>
      <dgm:spPr/>
      <dgm:t>
        <a:bodyPr/>
        <a:lstStyle/>
        <a:p>
          <a:endParaRPr lang="en-US"/>
        </a:p>
      </dgm:t>
    </dgm:pt>
    <dgm:pt modelId="{9F9BE161-592B-4F31-8896-D0E18E242258}" type="sibTrans" cxnId="{2C514F2E-F6CF-433F-851F-8D7C8DEE3410}">
      <dgm:prSet/>
      <dgm:spPr/>
      <dgm:t>
        <a:bodyPr/>
        <a:lstStyle/>
        <a:p>
          <a:endParaRPr lang="en-US"/>
        </a:p>
      </dgm:t>
    </dgm:pt>
    <dgm:pt modelId="{8189AA6B-2750-459F-B971-8EE86A8BBDCB}">
      <dgm:prSet custT="1"/>
      <dgm:spPr/>
      <dgm:t>
        <a:bodyPr/>
        <a:lstStyle/>
        <a:p>
          <a:r>
            <a:rPr lang="en-US" sz="1600"/>
            <a:t>license costs</a:t>
          </a:r>
        </a:p>
      </dgm:t>
    </dgm:pt>
    <dgm:pt modelId="{77261BA8-257F-474E-B0B8-C78A84F03D00}" type="parTrans" cxnId="{6E585C0A-55EF-44EF-9D6E-79B692672CF9}">
      <dgm:prSet/>
      <dgm:spPr/>
      <dgm:t>
        <a:bodyPr/>
        <a:lstStyle/>
        <a:p>
          <a:endParaRPr lang="en-US"/>
        </a:p>
      </dgm:t>
    </dgm:pt>
    <dgm:pt modelId="{5CC8276F-B6DF-4EF7-A40E-0503D39CF7DA}" type="sibTrans" cxnId="{6E585C0A-55EF-44EF-9D6E-79B692672CF9}">
      <dgm:prSet/>
      <dgm:spPr/>
      <dgm:t>
        <a:bodyPr/>
        <a:lstStyle/>
        <a:p>
          <a:endParaRPr lang="en-US"/>
        </a:p>
      </dgm:t>
    </dgm:pt>
    <dgm:pt modelId="{605B0E2B-614A-46ED-AFA4-8C0C9247FE01}">
      <dgm:prSet custT="1"/>
      <dgm:spPr/>
      <dgm:t>
        <a:bodyPr/>
        <a:lstStyle/>
        <a:p>
          <a:r>
            <a:rPr lang="en-US" sz="1600" dirty="0"/>
            <a:t>cost of installing / configuring /</a:t>
          </a:r>
          <a:br>
            <a:rPr lang="en-US" sz="1600" dirty="0"/>
          </a:br>
          <a:r>
            <a:rPr lang="en-US" sz="1600" dirty="0"/>
            <a:t>capex</a:t>
          </a:r>
        </a:p>
      </dgm:t>
    </dgm:pt>
    <dgm:pt modelId="{7BDA8649-843D-4FD4-9FA2-192E9BFAAD42}" type="parTrans" cxnId="{95D06919-3AC9-4A8A-B81C-4CD1B74C6401}">
      <dgm:prSet/>
      <dgm:spPr/>
      <dgm:t>
        <a:bodyPr/>
        <a:lstStyle/>
        <a:p>
          <a:endParaRPr lang="en-US"/>
        </a:p>
      </dgm:t>
    </dgm:pt>
    <dgm:pt modelId="{66A01257-5ACF-40B0-8E40-59C064DF507F}" type="sibTrans" cxnId="{95D06919-3AC9-4A8A-B81C-4CD1B74C6401}">
      <dgm:prSet/>
      <dgm:spPr/>
      <dgm:t>
        <a:bodyPr/>
        <a:lstStyle/>
        <a:p>
          <a:endParaRPr lang="en-US"/>
        </a:p>
      </dgm:t>
    </dgm:pt>
    <dgm:pt modelId="{06A792C8-0777-4016-9504-9177E538A34C}">
      <dgm:prSet custT="1"/>
      <dgm:spPr/>
      <dgm:t>
        <a:bodyPr/>
        <a:lstStyle/>
        <a:p>
          <a:r>
            <a:rPr lang="en-US" sz="1800" dirty="0"/>
            <a:t>not many running costs</a:t>
          </a:r>
        </a:p>
      </dgm:t>
    </dgm:pt>
    <dgm:pt modelId="{75F5934D-00AA-4D60-BA42-A5F95090841F}" type="parTrans" cxnId="{0176A22E-0A4E-462D-B3A5-CBAE12683B6C}">
      <dgm:prSet/>
      <dgm:spPr/>
      <dgm:t>
        <a:bodyPr/>
        <a:lstStyle/>
        <a:p>
          <a:endParaRPr lang="en-US"/>
        </a:p>
      </dgm:t>
    </dgm:pt>
    <dgm:pt modelId="{4B81BD0E-E802-4D60-9D8D-564DD04988EE}" type="sibTrans" cxnId="{0176A22E-0A4E-462D-B3A5-CBAE12683B6C}">
      <dgm:prSet/>
      <dgm:spPr/>
      <dgm:t>
        <a:bodyPr/>
        <a:lstStyle/>
        <a:p>
          <a:endParaRPr lang="en-US"/>
        </a:p>
      </dgm:t>
    </dgm:pt>
    <dgm:pt modelId="{7F858C5F-9258-4144-929A-7BB6E01F8933}">
      <dgm:prSet/>
      <dgm:spPr/>
      <dgm:t>
        <a:bodyPr/>
        <a:lstStyle/>
        <a:p>
          <a:r>
            <a:rPr lang="en-US" dirty="0"/>
            <a:t>maintenance</a:t>
          </a:r>
        </a:p>
      </dgm:t>
    </dgm:pt>
    <dgm:pt modelId="{AD1865FB-7A50-408A-8653-9E4B75B17BA1}" type="parTrans" cxnId="{75DF25B2-C8F2-4689-979B-6E0DD67517B6}">
      <dgm:prSet/>
      <dgm:spPr/>
      <dgm:t>
        <a:bodyPr/>
        <a:lstStyle/>
        <a:p>
          <a:endParaRPr lang="en-US"/>
        </a:p>
      </dgm:t>
    </dgm:pt>
    <dgm:pt modelId="{894A2CB4-E82A-4B9F-8EEC-4DE8847C75EA}" type="sibTrans" cxnId="{75DF25B2-C8F2-4689-979B-6E0DD67517B6}">
      <dgm:prSet/>
      <dgm:spPr/>
      <dgm:t>
        <a:bodyPr/>
        <a:lstStyle/>
        <a:p>
          <a:endParaRPr lang="en-US"/>
        </a:p>
      </dgm:t>
    </dgm:pt>
    <dgm:pt modelId="{90EEB202-87EA-44E7-B4D7-8AAB69C6E065}">
      <dgm:prSet/>
      <dgm:spPr/>
      <dgm:t>
        <a:bodyPr/>
        <a:lstStyle/>
        <a:p>
          <a:r>
            <a:rPr lang="en-US" dirty="0"/>
            <a:t>development</a:t>
          </a:r>
        </a:p>
      </dgm:t>
    </dgm:pt>
    <dgm:pt modelId="{B406D155-9177-45AC-91D6-01087EC17A47}" type="parTrans" cxnId="{05A49301-2091-4CDB-BF74-7AFFFF1820BD}">
      <dgm:prSet/>
      <dgm:spPr/>
      <dgm:t>
        <a:bodyPr/>
        <a:lstStyle/>
        <a:p>
          <a:endParaRPr lang="en-US"/>
        </a:p>
      </dgm:t>
    </dgm:pt>
    <dgm:pt modelId="{6286B985-01D3-4034-8897-AF89E4296694}" type="sibTrans" cxnId="{05A49301-2091-4CDB-BF74-7AFFFF1820BD}">
      <dgm:prSet/>
      <dgm:spPr/>
      <dgm:t>
        <a:bodyPr/>
        <a:lstStyle/>
        <a:p>
          <a:endParaRPr lang="en-US"/>
        </a:p>
      </dgm:t>
    </dgm:pt>
    <dgm:pt modelId="{0ED74E8B-ED34-4C9C-9ADC-7077B6DEAB33}">
      <dgm:prSet/>
      <dgm:spPr/>
      <dgm:t>
        <a:bodyPr/>
        <a:lstStyle/>
        <a:p>
          <a:r>
            <a:rPr lang="en-US"/>
            <a:t>“electricity”</a:t>
          </a:r>
        </a:p>
      </dgm:t>
    </dgm:pt>
    <dgm:pt modelId="{DC32365E-B6F9-4ABD-ACA7-6E6D47795E13}" type="parTrans" cxnId="{C55BDA17-2866-41A3-83DD-E9E281CED45B}">
      <dgm:prSet/>
      <dgm:spPr/>
      <dgm:t>
        <a:bodyPr/>
        <a:lstStyle/>
        <a:p>
          <a:endParaRPr lang="en-US"/>
        </a:p>
      </dgm:t>
    </dgm:pt>
    <dgm:pt modelId="{1705F0F7-BA36-4DAE-8519-0415C9AC9C6A}" type="sibTrans" cxnId="{C55BDA17-2866-41A3-83DD-E9E281CED45B}">
      <dgm:prSet/>
      <dgm:spPr/>
      <dgm:t>
        <a:bodyPr/>
        <a:lstStyle/>
        <a:p>
          <a:endParaRPr lang="en-US"/>
        </a:p>
      </dgm:t>
    </dgm:pt>
    <dgm:pt modelId="{E87BCB89-76E3-4608-A313-8FB5187E8CBC}">
      <dgm:prSet/>
      <dgm:spPr/>
      <dgm:t>
        <a:bodyPr/>
        <a:lstStyle/>
        <a:p>
          <a:r>
            <a:rPr lang="en-US"/>
            <a:t>it doesn’t matter how many packages you run</a:t>
          </a:r>
        </a:p>
      </dgm:t>
    </dgm:pt>
    <dgm:pt modelId="{6B7BB72A-552F-4599-8ABC-292EF991FA32}" type="parTrans" cxnId="{44883F3D-D7D7-4CFD-825F-9266E4E10EAB}">
      <dgm:prSet/>
      <dgm:spPr/>
      <dgm:t>
        <a:bodyPr/>
        <a:lstStyle/>
        <a:p>
          <a:endParaRPr lang="en-US"/>
        </a:p>
      </dgm:t>
    </dgm:pt>
    <dgm:pt modelId="{7FAD7197-895A-4D56-A089-9449711ECE9D}" type="sibTrans" cxnId="{44883F3D-D7D7-4CFD-825F-9266E4E10EAB}">
      <dgm:prSet/>
      <dgm:spPr/>
      <dgm:t>
        <a:bodyPr/>
        <a:lstStyle/>
        <a:p>
          <a:endParaRPr lang="en-US"/>
        </a:p>
      </dgm:t>
    </dgm:pt>
    <dgm:pt modelId="{6E2D7C2D-912D-4836-8DBB-D67EEBC71320}">
      <dgm:prSet/>
      <dgm:spPr/>
      <dgm:t>
        <a:bodyPr/>
        <a:lstStyle/>
        <a:p>
          <a:r>
            <a:rPr lang="en-US" dirty="0"/>
            <a:t>or how many tasks there are in a package</a:t>
          </a:r>
        </a:p>
      </dgm:t>
    </dgm:pt>
    <dgm:pt modelId="{D4191D7F-6333-4CE8-83BF-36C68C98993E}" type="parTrans" cxnId="{479FB4F9-6C6B-40F3-99FB-D166CFF5C886}">
      <dgm:prSet/>
      <dgm:spPr/>
      <dgm:t>
        <a:bodyPr/>
        <a:lstStyle/>
        <a:p>
          <a:endParaRPr lang="en-US"/>
        </a:p>
      </dgm:t>
    </dgm:pt>
    <dgm:pt modelId="{E300E729-22D0-47C9-AA76-4DA6D32CD199}" type="sibTrans" cxnId="{479FB4F9-6C6B-40F3-99FB-D166CFF5C886}">
      <dgm:prSet/>
      <dgm:spPr/>
      <dgm:t>
        <a:bodyPr/>
        <a:lstStyle/>
        <a:p>
          <a:endParaRPr lang="en-US"/>
        </a:p>
      </dgm:t>
    </dgm:pt>
    <dgm:pt modelId="{5EA87217-8003-42F8-921E-773E702D2B04}" type="pres">
      <dgm:prSet presAssocID="{6755A229-8E1A-40D6-AA65-70E6EE03E666}" presName="Name0" presStyleCnt="0">
        <dgm:presLayoutVars>
          <dgm:dir/>
          <dgm:animLvl val="lvl"/>
          <dgm:resizeHandles val="exact"/>
        </dgm:presLayoutVars>
      </dgm:prSet>
      <dgm:spPr/>
    </dgm:pt>
    <dgm:pt modelId="{7BE71E51-0831-4DEA-A099-3A710165C749}" type="pres">
      <dgm:prSet presAssocID="{B30E3D82-B7F3-4873-8509-7DF8366D3834}" presName="linNode" presStyleCnt="0"/>
      <dgm:spPr/>
    </dgm:pt>
    <dgm:pt modelId="{AF034BCB-F47B-4AB4-953E-2EDCCF9D9811}" type="pres">
      <dgm:prSet presAssocID="{B30E3D82-B7F3-4873-8509-7DF8366D3834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B84DCC5B-7B1A-4753-AECF-702A3158D543}" type="pres">
      <dgm:prSet presAssocID="{6098B3AE-8632-4E05-A365-D34349ED6F23}" presName="sp" presStyleCnt="0"/>
      <dgm:spPr/>
    </dgm:pt>
    <dgm:pt modelId="{20CD0486-1742-412A-88C8-2A8C181117AE}" type="pres">
      <dgm:prSet presAssocID="{035B71F4-E9DE-4DD6-802B-3424F5E63367}" presName="linNode" presStyleCnt="0"/>
      <dgm:spPr/>
    </dgm:pt>
    <dgm:pt modelId="{4B753C60-2ACA-40EB-B05B-22B09677C519}" type="pres">
      <dgm:prSet presAssocID="{035B71F4-E9DE-4DD6-802B-3424F5E63367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9D5F7959-E9A2-4AEA-9669-1B22392730F5}" type="pres">
      <dgm:prSet presAssocID="{035B71F4-E9DE-4DD6-802B-3424F5E63367}" presName="descendantText" presStyleLbl="alignAccFollowNode1" presStyleIdx="0" presStyleCnt="3">
        <dgm:presLayoutVars>
          <dgm:bulletEnabled val="1"/>
        </dgm:presLayoutVars>
      </dgm:prSet>
      <dgm:spPr/>
    </dgm:pt>
    <dgm:pt modelId="{E42F5F5B-785C-4C26-A70E-5FFA71CFAB3B}" type="pres">
      <dgm:prSet presAssocID="{F47086AC-23EC-42CB-8A03-B0549371B351}" presName="sp" presStyleCnt="0"/>
      <dgm:spPr/>
    </dgm:pt>
    <dgm:pt modelId="{C1074DB7-04E5-4032-89A4-95C700083969}" type="pres">
      <dgm:prSet presAssocID="{06A792C8-0777-4016-9504-9177E538A34C}" presName="linNode" presStyleCnt="0"/>
      <dgm:spPr/>
    </dgm:pt>
    <dgm:pt modelId="{8DE01CD8-C087-43DD-99BD-FD523B4F5919}" type="pres">
      <dgm:prSet presAssocID="{06A792C8-0777-4016-9504-9177E538A34C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DD9FB6B3-426A-4B65-9B6B-2321EC96BC13}" type="pres">
      <dgm:prSet presAssocID="{06A792C8-0777-4016-9504-9177E538A34C}" presName="descendantText" presStyleLbl="alignAccFollowNode1" presStyleIdx="1" presStyleCnt="3">
        <dgm:presLayoutVars>
          <dgm:bulletEnabled val="1"/>
        </dgm:presLayoutVars>
      </dgm:prSet>
      <dgm:spPr/>
    </dgm:pt>
    <dgm:pt modelId="{8E5B79DE-AACA-41F8-BC60-D948ADA7BA06}" type="pres">
      <dgm:prSet presAssocID="{4B81BD0E-E802-4D60-9D8D-564DD04988EE}" presName="sp" presStyleCnt="0"/>
      <dgm:spPr/>
    </dgm:pt>
    <dgm:pt modelId="{CC6873B3-4555-4914-88B0-D6D79DB1B473}" type="pres">
      <dgm:prSet presAssocID="{E87BCB89-76E3-4608-A313-8FB5187E8CBC}" presName="linNode" presStyleCnt="0"/>
      <dgm:spPr/>
    </dgm:pt>
    <dgm:pt modelId="{32328D53-2A8B-44CD-B78D-A667B28B52D8}" type="pres">
      <dgm:prSet presAssocID="{E87BCB89-76E3-4608-A313-8FB5187E8CBC}" presName="parentText" presStyleLbl="node1" presStyleIdx="3" presStyleCnt="4">
        <dgm:presLayoutVars>
          <dgm:chMax val="1"/>
          <dgm:bulletEnabled val="1"/>
        </dgm:presLayoutVars>
      </dgm:prSet>
      <dgm:spPr/>
    </dgm:pt>
    <dgm:pt modelId="{98AC3D14-23A1-48DC-A6A5-DDA104FEF57D}" type="pres">
      <dgm:prSet presAssocID="{E87BCB89-76E3-4608-A313-8FB5187E8CBC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05A49301-2091-4CDB-BF74-7AFFFF1820BD}" srcId="{06A792C8-0777-4016-9504-9177E538A34C}" destId="{90EEB202-87EA-44E7-B4D7-8AAB69C6E065}" srcOrd="1" destOrd="0" parTransId="{B406D155-9177-45AC-91D6-01087EC17A47}" sibTransId="{6286B985-01D3-4034-8897-AF89E4296694}"/>
    <dgm:cxn modelId="{887B0406-FCE5-4887-B2FA-65DA65F6A14E}" type="presOf" srcId="{06A792C8-0777-4016-9504-9177E538A34C}" destId="{8DE01CD8-C087-43DD-99BD-FD523B4F5919}" srcOrd="0" destOrd="0" presId="urn:microsoft.com/office/officeart/2005/8/layout/vList5"/>
    <dgm:cxn modelId="{6E585C0A-55EF-44EF-9D6E-79B692672CF9}" srcId="{035B71F4-E9DE-4DD6-802B-3424F5E63367}" destId="{8189AA6B-2750-459F-B971-8EE86A8BBDCB}" srcOrd="1" destOrd="0" parTransId="{77261BA8-257F-474E-B0B8-C78A84F03D00}" sibTransId="{5CC8276F-B6DF-4EF7-A40E-0503D39CF7DA}"/>
    <dgm:cxn modelId="{C55BDA17-2866-41A3-83DD-E9E281CED45B}" srcId="{06A792C8-0777-4016-9504-9177E538A34C}" destId="{0ED74E8B-ED34-4C9C-9ADC-7077B6DEAB33}" srcOrd="2" destOrd="0" parTransId="{DC32365E-B6F9-4ABD-ACA7-6E6D47795E13}" sibTransId="{1705F0F7-BA36-4DAE-8519-0415C9AC9C6A}"/>
    <dgm:cxn modelId="{95D06919-3AC9-4A8A-B81C-4CD1B74C6401}" srcId="{035B71F4-E9DE-4DD6-802B-3424F5E63367}" destId="{605B0E2B-614A-46ED-AFA4-8C0C9247FE01}" srcOrd="2" destOrd="0" parTransId="{7BDA8649-843D-4FD4-9FA2-192E9BFAAD42}" sibTransId="{66A01257-5ACF-40B0-8E40-59C064DF507F}"/>
    <dgm:cxn modelId="{E17B352A-BE88-4C86-ACD9-A0DCCEC77F77}" type="presOf" srcId="{E87BCB89-76E3-4608-A313-8FB5187E8CBC}" destId="{32328D53-2A8B-44CD-B78D-A667B28B52D8}" srcOrd="0" destOrd="0" presId="urn:microsoft.com/office/officeart/2005/8/layout/vList5"/>
    <dgm:cxn modelId="{3202442C-F778-45FE-AC91-5E430C7BF45D}" type="presOf" srcId="{6755A229-8E1A-40D6-AA65-70E6EE03E666}" destId="{5EA87217-8003-42F8-921E-773E702D2B04}" srcOrd="0" destOrd="0" presId="urn:microsoft.com/office/officeart/2005/8/layout/vList5"/>
    <dgm:cxn modelId="{2C514F2E-F6CF-433F-851F-8D7C8DEE3410}" srcId="{035B71F4-E9DE-4DD6-802B-3424F5E63367}" destId="{A28DD5D1-73C3-4475-866B-5737678358A6}" srcOrd="0" destOrd="0" parTransId="{0A27BB42-20D7-4A14-A8CF-3CD6F996E7A8}" sibTransId="{9F9BE161-592B-4F31-8896-D0E18E242258}"/>
    <dgm:cxn modelId="{0176A22E-0A4E-462D-B3A5-CBAE12683B6C}" srcId="{6755A229-8E1A-40D6-AA65-70E6EE03E666}" destId="{06A792C8-0777-4016-9504-9177E538A34C}" srcOrd="2" destOrd="0" parTransId="{75F5934D-00AA-4D60-BA42-A5F95090841F}" sibTransId="{4B81BD0E-E802-4D60-9D8D-564DD04988EE}"/>
    <dgm:cxn modelId="{44883F3D-D7D7-4CFD-825F-9266E4E10EAB}" srcId="{6755A229-8E1A-40D6-AA65-70E6EE03E666}" destId="{E87BCB89-76E3-4608-A313-8FB5187E8CBC}" srcOrd="3" destOrd="0" parTransId="{6B7BB72A-552F-4599-8ABC-292EF991FA32}" sibTransId="{7FAD7197-895A-4D56-A089-9449711ECE9D}"/>
    <dgm:cxn modelId="{6228AF44-733C-4CFE-8F37-F18D29BE31D1}" type="presOf" srcId="{035B71F4-E9DE-4DD6-802B-3424F5E63367}" destId="{4B753C60-2ACA-40EB-B05B-22B09677C519}" srcOrd="0" destOrd="0" presId="urn:microsoft.com/office/officeart/2005/8/layout/vList5"/>
    <dgm:cxn modelId="{8A822554-F960-4395-AF41-7B4EC6CE48C8}" srcId="{6755A229-8E1A-40D6-AA65-70E6EE03E666}" destId="{B30E3D82-B7F3-4873-8509-7DF8366D3834}" srcOrd="0" destOrd="0" parTransId="{E220D41C-9661-4AB6-8C29-CD78EB931DB7}" sibTransId="{6098B3AE-8632-4E05-A365-D34349ED6F23}"/>
    <dgm:cxn modelId="{84EA7B84-9CD9-4E6B-8A60-19AEBBC44C34}" type="presOf" srcId="{90EEB202-87EA-44E7-B4D7-8AAB69C6E065}" destId="{DD9FB6B3-426A-4B65-9B6B-2321EC96BC13}" srcOrd="0" destOrd="1" presId="urn:microsoft.com/office/officeart/2005/8/layout/vList5"/>
    <dgm:cxn modelId="{5A6AD186-3866-40BD-9817-2869A5C0404B}" type="presOf" srcId="{B30E3D82-B7F3-4873-8509-7DF8366D3834}" destId="{AF034BCB-F47B-4AB4-953E-2EDCCF9D9811}" srcOrd="0" destOrd="0" presId="urn:microsoft.com/office/officeart/2005/8/layout/vList5"/>
    <dgm:cxn modelId="{33C1B489-E6DE-490F-A9E9-017209D8AF15}" type="presOf" srcId="{605B0E2B-614A-46ED-AFA4-8C0C9247FE01}" destId="{9D5F7959-E9A2-4AEA-9669-1B22392730F5}" srcOrd="0" destOrd="2" presId="urn:microsoft.com/office/officeart/2005/8/layout/vList5"/>
    <dgm:cxn modelId="{6FC67393-E916-4A40-AA08-7381A0FFAD95}" type="presOf" srcId="{7F858C5F-9258-4144-929A-7BB6E01F8933}" destId="{DD9FB6B3-426A-4B65-9B6B-2321EC96BC13}" srcOrd="0" destOrd="0" presId="urn:microsoft.com/office/officeart/2005/8/layout/vList5"/>
    <dgm:cxn modelId="{172B1094-F8A0-47B8-9D1C-AB95685D7511}" srcId="{6755A229-8E1A-40D6-AA65-70E6EE03E666}" destId="{035B71F4-E9DE-4DD6-802B-3424F5E63367}" srcOrd="1" destOrd="0" parTransId="{CB02B696-9DDD-4A35-BA8A-C24EC780771A}" sibTransId="{F47086AC-23EC-42CB-8A03-B0549371B351}"/>
    <dgm:cxn modelId="{75DF25B2-C8F2-4689-979B-6E0DD67517B6}" srcId="{06A792C8-0777-4016-9504-9177E538A34C}" destId="{7F858C5F-9258-4144-929A-7BB6E01F8933}" srcOrd="0" destOrd="0" parTransId="{AD1865FB-7A50-408A-8653-9E4B75B17BA1}" sibTransId="{894A2CB4-E82A-4B9F-8EEC-4DE8847C75EA}"/>
    <dgm:cxn modelId="{6EC852B5-76FF-4FDD-9CF9-CA970418790F}" type="presOf" srcId="{0ED74E8B-ED34-4C9C-9ADC-7077B6DEAB33}" destId="{DD9FB6B3-426A-4B65-9B6B-2321EC96BC13}" srcOrd="0" destOrd="2" presId="urn:microsoft.com/office/officeart/2005/8/layout/vList5"/>
    <dgm:cxn modelId="{5558E1C1-BF26-42D8-B54E-8A75E04AE8E4}" type="presOf" srcId="{6E2D7C2D-912D-4836-8DBB-D67EEBC71320}" destId="{98AC3D14-23A1-48DC-A6A5-DDA104FEF57D}" srcOrd="0" destOrd="0" presId="urn:microsoft.com/office/officeart/2005/8/layout/vList5"/>
    <dgm:cxn modelId="{19A23CD5-B890-4354-A7B4-671324E94208}" type="presOf" srcId="{8189AA6B-2750-459F-B971-8EE86A8BBDCB}" destId="{9D5F7959-E9A2-4AEA-9669-1B22392730F5}" srcOrd="0" destOrd="1" presId="urn:microsoft.com/office/officeart/2005/8/layout/vList5"/>
    <dgm:cxn modelId="{AA05F6E4-77AB-4BEA-B642-DD33FA3FDB0A}" type="presOf" srcId="{A28DD5D1-73C3-4475-866B-5737678358A6}" destId="{9D5F7959-E9A2-4AEA-9669-1B22392730F5}" srcOrd="0" destOrd="0" presId="urn:microsoft.com/office/officeart/2005/8/layout/vList5"/>
    <dgm:cxn modelId="{479FB4F9-6C6B-40F3-99FB-D166CFF5C886}" srcId="{E87BCB89-76E3-4608-A313-8FB5187E8CBC}" destId="{6E2D7C2D-912D-4836-8DBB-D67EEBC71320}" srcOrd="0" destOrd="0" parTransId="{D4191D7F-6333-4CE8-83BF-36C68C98993E}" sibTransId="{E300E729-22D0-47C9-AA76-4DA6D32CD199}"/>
    <dgm:cxn modelId="{4358DB8C-F653-4CBD-ADC0-FB73B487A5CE}" type="presParOf" srcId="{5EA87217-8003-42F8-921E-773E702D2B04}" destId="{7BE71E51-0831-4DEA-A099-3A710165C749}" srcOrd="0" destOrd="0" presId="urn:microsoft.com/office/officeart/2005/8/layout/vList5"/>
    <dgm:cxn modelId="{642F6A70-216D-4C36-A4C5-DCC6EC7CDE67}" type="presParOf" srcId="{7BE71E51-0831-4DEA-A099-3A710165C749}" destId="{AF034BCB-F47B-4AB4-953E-2EDCCF9D9811}" srcOrd="0" destOrd="0" presId="urn:microsoft.com/office/officeart/2005/8/layout/vList5"/>
    <dgm:cxn modelId="{57BE981E-FB19-402F-B144-EADE871FA043}" type="presParOf" srcId="{5EA87217-8003-42F8-921E-773E702D2B04}" destId="{B84DCC5B-7B1A-4753-AECF-702A3158D543}" srcOrd="1" destOrd="0" presId="urn:microsoft.com/office/officeart/2005/8/layout/vList5"/>
    <dgm:cxn modelId="{676608FF-B83E-4303-8A1A-FAB142D1288B}" type="presParOf" srcId="{5EA87217-8003-42F8-921E-773E702D2B04}" destId="{20CD0486-1742-412A-88C8-2A8C181117AE}" srcOrd="2" destOrd="0" presId="urn:microsoft.com/office/officeart/2005/8/layout/vList5"/>
    <dgm:cxn modelId="{3F85ACDE-FD04-4BA3-B391-EB3D0BA7E9D2}" type="presParOf" srcId="{20CD0486-1742-412A-88C8-2A8C181117AE}" destId="{4B753C60-2ACA-40EB-B05B-22B09677C519}" srcOrd="0" destOrd="0" presId="urn:microsoft.com/office/officeart/2005/8/layout/vList5"/>
    <dgm:cxn modelId="{774CAB14-D9C3-4B1A-A9DF-6C46DEA0EB63}" type="presParOf" srcId="{20CD0486-1742-412A-88C8-2A8C181117AE}" destId="{9D5F7959-E9A2-4AEA-9669-1B22392730F5}" srcOrd="1" destOrd="0" presId="urn:microsoft.com/office/officeart/2005/8/layout/vList5"/>
    <dgm:cxn modelId="{00A30582-DEF7-4501-826B-0ABCFC8CA551}" type="presParOf" srcId="{5EA87217-8003-42F8-921E-773E702D2B04}" destId="{E42F5F5B-785C-4C26-A70E-5FFA71CFAB3B}" srcOrd="3" destOrd="0" presId="urn:microsoft.com/office/officeart/2005/8/layout/vList5"/>
    <dgm:cxn modelId="{05DE8C56-CF0E-4EEB-A435-DEE3C1D317E8}" type="presParOf" srcId="{5EA87217-8003-42F8-921E-773E702D2B04}" destId="{C1074DB7-04E5-4032-89A4-95C700083969}" srcOrd="4" destOrd="0" presId="urn:microsoft.com/office/officeart/2005/8/layout/vList5"/>
    <dgm:cxn modelId="{F571B735-DF09-42AB-ACA3-7C3B7C4D803E}" type="presParOf" srcId="{C1074DB7-04E5-4032-89A4-95C700083969}" destId="{8DE01CD8-C087-43DD-99BD-FD523B4F5919}" srcOrd="0" destOrd="0" presId="urn:microsoft.com/office/officeart/2005/8/layout/vList5"/>
    <dgm:cxn modelId="{394B156A-FE09-47CF-835C-5F3EC49847B9}" type="presParOf" srcId="{C1074DB7-04E5-4032-89A4-95C700083969}" destId="{DD9FB6B3-426A-4B65-9B6B-2321EC96BC13}" srcOrd="1" destOrd="0" presId="urn:microsoft.com/office/officeart/2005/8/layout/vList5"/>
    <dgm:cxn modelId="{D842CE9A-158B-41EA-9F10-EE77134A7967}" type="presParOf" srcId="{5EA87217-8003-42F8-921E-773E702D2B04}" destId="{8E5B79DE-AACA-41F8-BC60-D948ADA7BA06}" srcOrd="5" destOrd="0" presId="urn:microsoft.com/office/officeart/2005/8/layout/vList5"/>
    <dgm:cxn modelId="{551CC993-E920-420D-A535-3F03F08EA530}" type="presParOf" srcId="{5EA87217-8003-42F8-921E-773E702D2B04}" destId="{CC6873B3-4555-4914-88B0-D6D79DB1B473}" srcOrd="6" destOrd="0" presId="urn:microsoft.com/office/officeart/2005/8/layout/vList5"/>
    <dgm:cxn modelId="{7F32FE8B-4F17-411C-8632-76EA2B4EC00A}" type="presParOf" srcId="{CC6873B3-4555-4914-88B0-D6D79DB1B473}" destId="{32328D53-2A8B-44CD-B78D-A667B28B52D8}" srcOrd="0" destOrd="0" presId="urn:microsoft.com/office/officeart/2005/8/layout/vList5"/>
    <dgm:cxn modelId="{BEBC2D51-B14C-44E3-A09B-017896DC4F0C}" type="presParOf" srcId="{CC6873B3-4555-4914-88B0-D6D79DB1B473}" destId="{98AC3D14-23A1-48DC-A6A5-DDA104FEF57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55A229-8E1A-40D6-AA65-70E6EE03E666}" type="doc">
      <dgm:prSet loTypeId="urn:microsoft.com/office/officeart/2005/8/layout/vList5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30E3D82-B7F3-4873-8509-7DF8366D3834}">
      <dgm:prSet/>
      <dgm:spPr/>
      <dgm:t>
        <a:bodyPr/>
        <a:lstStyle/>
        <a:p>
          <a:r>
            <a:rPr lang="en-US" dirty="0"/>
            <a:t>ADF is in the cloud</a:t>
          </a:r>
        </a:p>
      </dgm:t>
    </dgm:pt>
    <dgm:pt modelId="{E220D41C-9661-4AB6-8C29-CD78EB931DB7}" type="parTrans" cxnId="{8A822554-F960-4395-AF41-7B4EC6CE48C8}">
      <dgm:prSet/>
      <dgm:spPr/>
      <dgm:t>
        <a:bodyPr/>
        <a:lstStyle/>
        <a:p>
          <a:endParaRPr lang="en-US"/>
        </a:p>
      </dgm:t>
    </dgm:pt>
    <dgm:pt modelId="{6098B3AE-8632-4E05-A365-D34349ED6F23}" type="sibTrans" cxnId="{8A822554-F960-4395-AF41-7B4EC6CE48C8}">
      <dgm:prSet/>
      <dgm:spPr/>
      <dgm:t>
        <a:bodyPr/>
        <a:lstStyle/>
        <a:p>
          <a:endParaRPr lang="en-US"/>
        </a:p>
      </dgm:t>
    </dgm:pt>
    <dgm:pt modelId="{035B71F4-E9DE-4DD6-802B-3424F5E63367}">
      <dgm:prSet/>
      <dgm:spPr/>
      <dgm:t>
        <a:bodyPr/>
        <a:lstStyle/>
        <a:p>
          <a:r>
            <a:rPr lang="en-US" dirty="0"/>
            <a:t>SaaS: no up-front costs</a:t>
          </a:r>
        </a:p>
      </dgm:t>
    </dgm:pt>
    <dgm:pt modelId="{CB02B696-9DDD-4A35-BA8A-C24EC780771A}" type="parTrans" cxnId="{C60D63E9-0F74-468B-AC80-63B50CAA9AF8}">
      <dgm:prSet/>
      <dgm:spPr/>
      <dgm:t>
        <a:bodyPr/>
        <a:lstStyle/>
        <a:p>
          <a:endParaRPr lang="en-US"/>
        </a:p>
      </dgm:t>
    </dgm:pt>
    <dgm:pt modelId="{F47086AC-23EC-42CB-8A03-B0549371B351}" type="sibTrans" cxnId="{C60D63E9-0F74-468B-AC80-63B50CAA9AF8}">
      <dgm:prSet/>
      <dgm:spPr/>
      <dgm:t>
        <a:bodyPr/>
        <a:lstStyle/>
        <a:p>
          <a:endParaRPr lang="en-US"/>
        </a:p>
      </dgm:t>
    </dgm:pt>
    <dgm:pt modelId="{A28DD5D1-73C3-4475-866B-5737678358A6}">
      <dgm:prSet custT="1"/>
      <dgm:spPr/>
      <dgm:t>
        <a:bodyPr/>
        <a:lstStyle/>
        <a:p>
          <a:r>
            <a:rPr lang="en-US" sz="1600" dirty="0"/>
            <a:t>maybe self-hosted IR</a:t>
          </a:r>
        </a:p>
      </dgm:t>
    </dgm:pt>
    <dgm:pt modelId="{0A27BB42-20D7-4A14-A8CF-3CD6F996E7A8}" type="parTrans" cxnId="{AE8FE325-2464-45F7-844D-E63D10EBA8F7}">
      <dgm:prSet/>
      <dgm:spPr/>
      <dgm:t>
        <a:bodyPr/>
        <a:lstStyle/>
        <a:p>
          <a:endParaRPr lang="en-US"/>
        </a:p>
      </dgm:t>
    </dgm:pt>
    <dgm:pt modelId="{9F9BE161-592B-4F31-8896-D0E18E242258}" type="sibTrans" cxnId="{AE8FE325-2464-45F7-844D-E63D10EBA8F7}">
      <dgm:prSet/>
      <dgm:spPr/>
      <dgm:t>
        <a:bodyPr/>
        <a:lstStyle/>
        <a:p>
          <a:endParaRPr lang="en-US"/>
        </a:p>
      </dgm:t>
    </dgm:pt>
    <dgm:pt modelId="{8189AA6B-2750-459F-B971-8EE86A8BBDCB}">
      <dgm:prSet custT="1"/>
      <dgm:spPr/>
      <dgm:t>
        <a:bodyPr/>
        <a:lstStyle/>
        <a:p>
          <a:r>
            <a:rPr lang="en-US" sz="1600" dirty="0"/>
            <a:t>no license costs</a:t>
          </a:r>
        </a:p>
      </dgm:t>
    </dgm:pt>
    <dgm:pt modelId="{77261BA8-257F-474E-B0B8-C78A84F03D00}" type="parTrans" cxnId="{17D3A13C-E7B9-4CF0-9744-52899B084C25}">
      <dgm:prSet/>
      <dgm:spPr/>
      <dgm:t>
        <a:bodyPr/>
        <a:lstStyle/>
        <a:p>
          <a:endParaRPr lang="en-US"/>
        </a:p>
      </dgm:t>
    </dgm:pt>
    <dgm:pt modelId="{5CC8276F-B6DF-4EF7-A40E-0503D39CF7DA}" type="sibTrans" cxnId="{17D3A13C-E7B9-4CF0-9744-52899B084C25}">
      <dgm:prSet/>
      <dgm:spPr/>
      <dgm:t>
        <a:bodyPr/>
        <a:lstStyle/>
        <a:p>
          <a:endParaRPr lang="en-US"/>
        </a:p>
      </dgm:t>
    </dgm:pt>
    <dgm:pt modelId="{06A792C8-0777-4016-9504-9177E538A34C}">
      <dgm:prSet/>
      <dgm:spPr/>
      <dgm:t>
        <a:bodyPr/>
        <a:lstStyle/>
        <a:p>
          <a:r>
            <a:rPr lang="en-US" dirty="0"/>
            <a:t>many running costs</a:t>
          </a:r>
        </a:p>
      </dgm:t>
    </dgm:pt>
    <dgm:pt modelId="{75F5934D-00AA-4D60-BA42-A5F95090841F}" type="parTrans" cxnId="{358BA3A0-E46C-43EE-BC20-436583AA3F87}">
      <dgm:prSet/>
      <dgm:spPr/>
      <dgm:t>
        <a:bodyPr/>
        <a:lstStyle/>
        <a:p>
          <a:endParaRPr lang="en-US"/>
        </a:p>
      </dgm:t>
    </dgm:pt>
    <dgm:pt modelId="{4B81BD0E-E802-4D60-9D8D-564DD04988EE}" type="sibTrans" cxnId="{358BA3A0-E46C-43EE-BC20-436583AA3F87}">
      <dgm:prSet/>
      <dgm:spPr/>
      <dgm:t>
        <a:bodyPr/>
        <a:lstStyle/>
        <a:p>
          <a:endParaRPr lang="en-US"/>
        </a:p>
      </dgm:t>
    </dgm:pt>
    <dgm:pt modelId="{7F858C5F-9258-4144-929A-7BB6E01F8933}">
      <dgm:prSet custT="1"/>
      <dgm:spPr/>
      <dgm:t>
        <a:bodyPr/>
        <a:lstStyle/>
        <a:p>
          <a:r>
            <a:rPr lang="en-US" sz="1600" dirty="0"/>
            <a:t>compute cost per minute</a:t>
          </a:r>
        </a:p>
      </dgm:t>
    </dgm:pt>
    <dgm:pt modelId="{AD1865FB-7A50-408A-8653-9E4B75B17BA1}" type="parTrans" cxnId="{B0404C90-1C2D-4307-A007-64A5FC7EE7A9}">
      <dgm:prSet/>
      <dgm:spPr/>
      <dgm:t>
        <a:bodyPr/>
        <a:lstStyle/>
        <a:p>
          <a:endParaRPr lang="en-US"/>
        </a:p>
      </dgm:t>
    </dgm:pt>
    <dgm:pt modelId="{894A2CB4-E82A-4B9F-8EEC-4DE8847C75EA}" type="sibTrans" cxnId="{B0404C90-1C2D-4307-A007-64A5FC7EE7A9}">
      <dgm:prSet/>
      <dgm:spPr/>
      <dgm:t>
        <a:bodyPr/>
        <a:lstStyle/>
        <a:p>
          <a:endParaRPr lang="en-US"/>
        </a:p>
      </dgm:t>
    </dgm:pt>
    <dgm:pt modelId="{90EEB202-87EA-44E7-B4D7-8AAB69C6E065}">
      <dgm:prSet custT="1"/>
      <dgm:spPr/>
      <dgm:t>
        <a:bodyPr/>
        <a:lstStyle/>
        <a:p>
          <a:r>
            <a:rPr lang="en-US" sz="1600" dirty="0"/>
            <a:t>development</a:t>
          </a:r>
        </a:p>
      </dgm:t>
    </dgm:pt>
    <dgm:pt modelId="{B406D155-9177-45AC-91D6-01087EC17A47}" type="parTrans" cxnId="{925CBBA6-D243-4978-887B-253B6CA15005}">
      <dgm:prSet/>
      <dgm:spPr/>
      <dgm:t>
        <a:bodyPr/>
        <a:lstStyle/>
        <a:p>
          <a:endParaRPr lang="en-US"/>
        </a:p>
      </dgm:t>
    </dgm:pt>
    <dgm:pt modelId="{6286B985-01D3-4034-8897-AF89E4296694}" type="sibTrans" cxnId="{925CBBA6-D243-4978-887B-253B6CA15005}">
      <dgm:prSet/>
      <dgm:spPr/>
      <dgm:t>
        <a:bodyPr/>
        <a:lstStyle/>
        <a:p>
          <a:endParaRPr lang="en-US"/>
        </a:p>
      </dgm:t>
    </dgm:pt>
    <dgm:pt modelId="{E87BCB89-76E3-4608-A313-8FB5187E8CBC}">
      <dgm:prSet/>
      <dgm:spPr/>
      <dgm:t>
        <a:bodyPr/>
        <a:lstStyle/>
        <a:p>
          <a:r>
            <a:rPr lang="en-US" dirty="0"/>
            <a:t># of activities has significant impact</a:t>
          </a:r>
        </a:p>
      </dgm:t>
    </dgm:pt>
    <dgm:pt modelId="{6B7BB72A-552F-4599-8ABC-292EF991FA32}" type="parTrans" cxnId="{22089D22-E7F4-4C91-B0FF-C2439539485B}">
      <dgm:prSet/>
      <dgm:spPr/>
      <dgm:t>
        <a:bodyPr/>
        <a:lstStyle/>
        <a:p>
          <a:endParaRPr lang="en-US"/>
        </a:p>
      </dgm:t>
    </dgm:pt>
    <dgm:pt modelId="{7FAD7197-895A-4D56-A089-9449711ECE9D}" type="sibTrans" cxnId="{22089D22-E7F4-4C91-B0FF-C2439539485B}">
      <dgm:prSet/>
      <dgm:spPr/>
      <dgm:t>
        <a:bodyPr/>
        <a:lstStyle/>
        <a:p>
          <a:endParaRPr lang="en-US"/>
        </a:p>
      </dgm:t>
    </dgm:pt>
    <dgm:pt modelId="{6E2D7C2D-912D-4836-8DBB-D67EEBC71320}">
      <dgm:prSet custT="1"/>
      <dgm:spPr/>
      <dgm:t>
        <a:bodyPr/>
        <a:lstStyle/>
        <a:p>
          <a:r>
            <a:rPr lang="en-US" sz="1600" dirty="0"/>
            <a:t>and how long they run</a:t>
          </a:r>
        </a:p>
      </dgm:t>
    </dgm:pt>
    <dgm:pt modelId="{D4191D7F-6333-4CE8-83BF-36C68C98993E}" type="parTrans" cxnId="{D1F494F6-397F-4B51-BE3F-BAA43E761151}">
      <dgm:prSet/>
      <dgm:spPr/>
      <dgm:t>
        <a:bodyPr/>
        <a:lstStyle/>
        <a:p>
          <a:endParaRPr lang="en-US"/>
        </a:p>
      </dgm:t>
    </dgm:pt>
    <dgm:pt modelId="{E300E729-22D0-47C9-AA76-4DA6D32CD199}" type="sibTrans" cxnId="{D1F494F6-397F-4B51-BE3F-BAA43E761151}">
      <dgm:prSet/>
      <dgm:spPr/>
      <dgm:t>
        <a:bodyPr/>
        <a:lstStyle/>
        <a:p>
          <a:endParaRPr lang="en-US"/>
        </a:p>
      </dgm:t>
    </dgm:pt>
    <dgm:pt modelId="{5EA87217-8003-42F8-921E-773E702D2B04}" type="pres">
      <dgm:prSet presAssocID="{6755A229-8E1A-40D6-AA65-70E6EE03E666}" presName="Name0" presStyleCnt="0">
        <dgm:presLayoutVars>
          <dgm:dir/>
          <dgm:animLvl val="lvl"/>
          <dgm:resizeHandles val="exact"/>
        </dgm:presLayoutVars>
      </dgm:prSet>
      <dgm:spPr/>
    </dgm:pt>
    <dgm:pt modelId="{7BE71E51-0831-4DEA-A099-3A710165C749}" type="pres">
      <dgm:prSet presAssocID="{B30E3D82-B7F3-4873-8509-7DF8366D3834}" presName="linNode" presStyleCnt="0"/>
      <dgm:spPr/>
    </dgm:pt>
    <dgm:pt modelId="{AF034BCB-F47B-4AB4-953E-2EDCCF9D9811}" type="pres">
      <dgm:prSet presAssocID="{B30E3D82-B7F3-4873-8509-7DF8366D3834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B84DCC5B-7B1A-4753-AECF-702A3158D543}" type="pres">
      <dgm:prSet presAssocID="{6098B3AE-8632-4E05-A365-D34349ED6F23}" presName="sp" presStyleCnt="0"/>
      <dgm:spPr/>
    </dgm:pt>
    <dgm:pt modelId="{20CD0486-1742-412A-88C8-2A8C181117AE}" type="pres">
      <dgm:prSet presAssocID="{035B71F4-E9DE-4DD6-802B-3424F5E63367}" presName="linNode" presStyleCnt="0"/>
      <dgm:spPr/>
    </dgm:pt>
    <dgm:pt modelId="{4B753C60-2ACA-40EB-B05B-22B09677C519}" type="pres">
      <dgm:prSet presAssocID="{035B71F4-E9DE-4DD6-802B-3424F5E63367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9D5F7959-E9A2-4AEA-9669-1B22392730F5}" type="pres">
      <dgm:prSet presAssocID="{035B71F4-E9DE-4DD6-802B-3424F5E63367}" presName="descendantText" presStyleLbl="alignAccFollowNode1" presStyleIdx="0" presStyleCnt="3">
        <dgm:presLayoutVars>
          <dgm:bulletEnabled val="1"/>
        </dgm:presLayoutVars>
      </dgm:prSet>
      <dgm:spPr/>
    </dgm:pt>
    <dgm:pt modelId="{E42F5F5B-785C-4C26-A70E-5FFA71CFAB3B}" type="pres">
      <dgm:prSet presAssocID="{F47086AC-23EC-42CB-8A03-B0549371B351}" presName="sp" presStyleCnt="0"/>
      <dgm:spPr/>
    </dgm:pt>
    <dgm:pt modelId="{C1074DB7-04E5-4032-89A4-95C700083969}" type="pres">
      <dgm:prSet presAssocID="{06A792C8-0777-4016-9504-9177E538A34C}" presName="linNode" presStyleCnt="0"/>
      <dgm:spPr/>
    </dgm:pt>
    <dgm:pt modelId="{8DE01CD8-C087-43DD-99BD-FD523B4F5919}" type="pres">
      <dgm:prSet presAssocID="{06A792C8-0777-4016-9504-9177E538A34C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DD9FB6B3-426A-4B65-9B6B-2321EC96BC13}" type="pres">
      <dgm:prSet presAssocID="{06A792C8-0777-4016-9504-9177E538A34C}" presName="descendantText" presStyleLbl="alignAccFollowNode1" presStyleIdx="1" presStyleCnt="3">
        <dgm:presLayoutVars>
          <dgm:bulletEnabled val="1"/>
        </dgm:presLayoutVars>
      </dgm:prSet>
      <dgm:spPr/>
    </dgm:pt>
    <dgm:pt modelId="{8E5B79DE-AACA-41F8-BC60-D948ADA7BA06}" type="pres">
      <dgm:prSet presAssocID="{4B81BD0E-E802-4D60-9D8D-564DD04988EE}" presName="sp" presStyleCnt="0"/>
      <dgm:spPr/>
    </dgm:pt>
    <dgm:pt modelId="{CC6873B3-4555-4914-88B0-D6D79DB1B473}" type="pres">
      <dgm:prSet presAssocID="{E87BCB89-76E3-4608-A313-8FB5187E8CBC}" presName="linNode" presStyleCnt="0"/>
      <dgm:spPr/>
    </dgm:pt>
    <dgm:pt modelId="{32328D53-2A8B-44CD-B78D-A667B28B52D8}" type="pres">
      <dgm:prSet presAssocID="{E87BCB89-76E3-4608-A313-8FB5187E8CBC}" presName="parentText" presStyleLbl="node1" presStyleIdx="3" presStyleCnt="4">
        <dgm:presLayoutVars>
          <dgm:chMax val="1"/>
          <dgm:bulletEnabled val="1"/>
        </dgm:presLayoutVars>
      </dgm:prSet>
      <dgm:spPr/>
    </dgm:pt>
    <dgm:pt modelId="{98AC3D14-23A1-48DC-A6A5-DDA104FEF57D}" type="pres">
      <dgm:prSet presAssocID="{E87BCB89-76E3-4608-A313-8FB5187E8CBC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792EAB05-64FF-44E9-B6D2-6BF2BCC87358}" type="presOf" srcId="{06A792C8-0777-4016-9504-9177E538A34C}" destId="{8DE01CD8-C087-43DD-99BD-FD523B4F5919}" srcOrd="0" destOrd="0" presId="urn:microsoft.com/office/officeart/2005/8/layout/vList5"/>
    <dgm:cxn modelId="{CF189E11-A3E1-4762-9B23-C72CDC8EAAEE}" type="presOf" srcId="{A28DD5D1-73C3-4475-866B-5737678358A6}" destId="{9D5F7959-E9A2-4AEA-9669-1B22392730F5}" srcOrd="0" destOrd="0" presId="urn:microsoft.com/office/officeart/2005/8/layout/vList5"/>
    <dgm:cxn modelId="{22089D22-E7F4-4C91-B0FF-C2439539485B}" srcId="{6755A229-8E1A-40D6-AA65-70E6EE03E666}" destId="{E87BCB89-76E3-4608-A313-8FB5187E8CBC}" srcOrd="3" destOrd="0" parTransId="{6B7BB72A-552F-4599-8ABC-292EF991FA32}" sibTransId="{7FAD7197-895A-4D56-A089-9449711ECE9D}"/>
    <dgm:cxn modelId="{AE8FE325-2464-45F7-844D-E63D10EBA8F7}" srcId="{035B71F4-E9DE-4DD6-802B-3424F5E63367}" destId="{A28DD5D1-73C3-4475-866B-5737678358A6}" srcOrd="0" destOrd="0" parTransId="{0A27BB42-20D7-4A14-A8CF-3CD6F996E7A8}" sibTransId="{9F9BE161-592B-4F31-8896-D0E18E242258}"/>
    <dgm:cxn modelId="{3202442C-F778-45FE-AC91-5E430C7BF45D}" type="presOf" srcId="{6755A229-8E1A-40D6-AA65-70E6EE03E666}" destId="{5EA87217-8003-42F8-921E-773E702D2B04}" srcOrd="0" destOrd="0" presId="urn:microsoft.com/office/officeart/2005/8/layout/vList5"/>
    <dgm:cxn modelId="{17D3A13C-E7B9-4CF0-9744-52899B084C25}" srcId="{035B71F4-E9DE-4DD6-802B-3424F5E63367}" destId="{8189AA6B-2750-459F-B971-8EE86A8BBDCB}" srcOrd="1" destOrd="0" parTransId="{77261BA8-257F-474E-B0B8-C78A84F03D00}" sibTransId="{5CC8276F-B6DF-4EF7-A40E-0503D39CF7DA}"/>
    <dgm:cxn modelId="{1A7BB344-97FF-4C6B-8F94-4F591659258F}" type="presOf" srcId="{90EEB202-87EA-44E7-B4D7-8AAB69C6E065}" destId="{DD9FB6B3-426A-4B65-9B6B-2321EC96BC13}" srcOrd="0" destOrd="1" presId="urn:microsoft.com/office/officeart/2005/8/layout/vList5"/>
    <dgm:cxn modelId="{8A822554-F960-4395-AF41-7B4EC6CE48C8}" srcId="{6755A229-8E1A-40D6-AA65-70E6EE03E666}" destId="{B30E3D82-B7F3-4873-8509-7DF8366D3834}" srcOrd="0" destOrd="0" parTransId="{E220D41C-9661-4AB6-8C29-CD78EB931DB7}" sibTransId="{6098B3AE-8632-4E05-A365-D34349ED6F23}"/>
    <dgm:cxn modelId="{6D686574-FBA7-4307-BEE0-57BA48F31230}" type="presOf" srcId="{035B71F4-E9DE-4DD6-802B-3424F5E63367}" destId="{4B753C60-2ACA-40EB-B05B-22B09677C519}" srcOrd="0" destOrd="0" presId="urn:microsoft.com/office/officeart/2005/8/layout/vList5"/>
    <dgm:cxn modelId="{46635A57-2D05-4FD0-81FC-633E87CE846D}" type="presOf" srcId="{E87BCB89-76E3-4608-A313-8FB5187E8CBC}" destId="{32328D53-2A8B-44CD-B78D-A667B28B52D8}" srcOrd="0" destOrd="0" presId="urn:microsoft.com/office/officeart/2005/8/layout/vList5"/>
    <dgm:cxn modelId="{5A6AD186-3866-40BD-9817-2869A5C0404B}" type="presOf" srcId="{B30E3D82-B7F3-4873-8509-7DF8366D3834}" destId="{AF034BCB-F47B-4AB4-953E-2EDCCF9D9811}" srcOrd="0" destOrd="0" presId="urn:microsoft.com/office/officeart/2005/8/layout/vList5"/>
    <dgm:cxn modelId="{4519FD8E-A6F1-495E-BEDE-28EA5FC80846}" type="presOf" srcId="{6E2D7C2D-912D-4836-8DBB-D67EEBC71320}" destId="{98AC3D14-23A1-48DC-A6A5-DDA104FEF57D}" srcOrd="0" destOrd="0" presId="urn:microsoft.com/office/officeart/2005/8/layout/vList5"/>
    <dgm:cxn modelId="{B0404C90-1C2D-4307-A007-64A5FC7EE7A9}" srcId="{06A792C8-0777-4016-9504-9177E538A34C}" destId="{7F858C5F-9258-4144-929A-7BB6E01F8933}" srcOrd="0" destOrd="0" parTransId="{AD1865FB-7A50-408A-8653-9E4B75B17BA1}" sibTransId="{894A2CB4-E82A-4B9F-8EEC-4DE8847C75EA}"/>
    <dgm:cxn modelId="{358BA3A0-E46C-43EE-BC20-436583AA3F87}" srcId="{6755A229-8E1A-40D6-AA65-70E6EE03E666}" destId="{06A792C8-0777-4016-9504-9177E538A34C}" srcOrd="2" destOrd="0" parTransId="{75F5934D-00AA-4D60-BA42-A5F95090841F}" sibTransId="{4B81BD0E-E802-4D60-9D8D-564DD04988EE}"/>
    <dgm:cxn modelId="{925CBBA6-D243-4978-887B-253B6CA15005}" srcId="{06A792C8-0777-4016-9504-9177E538A34C}" destId="{90EEB202-87EA-44E7-B4D7-8AAB69C6E065}" srcOrd="1" destOrd="0" parTransId="{B406D155-9177-45AC-91D6-01087EC17A47}" sibTransId="{6286B985-01D3-4034-8897-AF89E4296694}"/>
    <dgm:cxn modelId="{8E59E5CD-7AC2-4DB9-892E-46E495D68574}" type="presOf" srcId="{7F858C5F-9258-4144-929A-7BB6E01F8933}" destId="{DD9FB6B3-426A-4B65-9B6B-2321EC96BC13}" srcOrd="0" destOrd="0" presId="urn:microsoft.com/office/officeart/2005/8/layout/vList5"/>
    <dgm:cxn modelId="{AF2060E1-A317-442C-8413-224FBE89870B}" type="presOf" srcId="{8189AA6B-2750-459F-B971-8EE86A8BBDCB}" destId="{9D5F7959-E9A2-4AEA-9669-1B22392730F5}" srcOrd="0" destOrd="1" presId="urn:microsoft.com/office/officeart/2005/8/layout/vList5"/>
    <dgm:cxn modelId="{C60D63E9-0F74-468B-AC80-63B50CAA9AF8}" srcId="{6755A229-8E1A-40D6-AA65-70E6EE03E666}" destId="{035B71F4-E9DE-4DD6-802B-3424F5E63367}" srcOrd="1" destOrd="0" parTransId="{CB02B696-9DDD-4A35-BA8A-C24EC780771A}" sibTransId="{F47086AC-23EC-42CB-8A03-B0549371B351}"/>
    <dgm:cxn modelId="{D1F494F6-397F-4B51-BE3F-BAA43E761151}" srcId="{E87BCB89-76E3-4608-A313-8FB5187E8CBC}" destId="{6E2D7C2D-912D-4836-8DBB-D67EEBC71320}" srcOrd="0" destOrd="0" parTransId="{D4191D7F-6333-4CE8-83BF-36C68C98993E}" sibTransId="{E300E729-22D0-47C9-AA76-4DA6D32CD199}"/>
    <dgm:cxn modelId="{4358DB8C-F653-4CBD-ADC0-FB73B487A5CE}" type="presParOf" srcId="{5EA87217-8003-42F8-921E-773E702D2B04}" destId="{7BE71E51-0831-4DEA-A099-3A710165C749}" srcOrd="0" destOrd="0" presId="urn:microsoft.com/office/officeart/2005/8/layout/vList5"/>
    <dgm:cxn modelId="{642F6A70-216D-4C36-A4C5-DCC6EC7CDE67}" type="presParOf" srcId="{7BE71E51-0831-4DEA-A099-3A710165C749}" destId="{AF034BCB-F47B-4AB4-953E-2EDCCF9D9811}" srcOrd="0" destOrd="0" presId="urn:microsoft.com/office/officeart/2005/8/layout/vList5"/>
    <dgm:cxn modelId="{52CDB906-0881-448E-9E16-4ADE389A96E5}" type="presParOf" srcId="{5EA87217-8003-42F8-921E-773E702D2B04}" destId="{B84DCC5B-7B1A-4753-AECF-702A3158D543}" srcOrd="1" destOrd="0" presId="urn:microsoft.com/office/officeart/2005/8/layout/vList5"/>
    <dgm:cxn modelId="{69245148-32FA-4BA8-BE01-3DC356B33CC5}" type="presParOf" srcId="{5EA87217-8003-42F8-921E-773E702D2B04}" destId="{20CD0486-1742-412A-88C8-2A8C181117AE}" srcOrd="2" destOrd="0" presId="urn:microsoft.com/office/officeart/2005/8/layout/vList5"/>
    <dgm:cxn modelId="{E7822189-BE87-413D-AD8E-A9941697208A}" type="presParOf" srcId="{20CD0486-1742-412A-88C8-2A8C181117AE}" destId="{4B753C60-2ACA-40EB-B05B-22B09677C519}" srcOrd="0" destOrd="0" presId="urn:microsoft.com/office/officeart/2005/8/layout/vList5"/>
    <dgm:cxn modelId="{98404F6E-F722-49D7-9C0A-9094A5754A8E}" type="presParOf" srcId="{20CD0486-1742-412A-88C8-2A8C181117AE}" destId="{9D5F7959-E9A2-4AEA-9669-1B22392730F5}" srcOrd="1" destOrd="0" presId="urn:microsoft.com/office/officeart/2005/8/layout/vList5"/>
    <dgm:cxn modelId="{34147DDD-1A08-4BCD-AE34-343798A0B347}" type="presParOf" srcId="{5EA87217-8003-42F8-921E-773E702D2B04}" destId="{E42F5F5B-785C-4C26-A70E-5FFA71CFAB3B}" srcOrd="3" destOrd="0" presId="urn:microsoft.com/office/officeart/2005/8/layout/vList5"/>
    <dgm:cxn modelId="{4CF96D28-94B1-494D-9AAE-D9BD6C31B298}" type="presParOf" srcId="{5EA87217-8003-42F8-921E-773E702D2B04}" destId="{C1074DB7-04E5-4032-89A4-95C700083969}" srcOrd="4" destOrd="0" presId="urn:microsoft.com/office/officeart/2005/8/layout/vList5"/>
    <dgm:cxn modelId="{6E528FCF-5395-4C7C-B289-644E3BCDD8E5}" type="presParOf" srcId="{C1074DB7-04E5-4032-89A4-95C700083969}" destId="{8DE01CD8-C087-43DD-99BD-FD523B4F5919}" srcOrd="0" destOrd="0" presId="urn:microsoft.com/office/officeart/2005/8/layout/vList5"/>
    <dgm:cxn modelId="{C5DEC4B6-0320-4E0F-A94A-D6F27C622628}" type="presParOf" srcId="{C1074DB7-04E5-4032-89A4-95C700083969}" destId="{DD9FB6B3-426A-4B65-9B6B-2321EC96BC13}" srcOrd="1" destOrd="0" presId="urn:microsoft.com/office/officeart/2005/8/layout/vList5"/>
    <dgm:cxn modelId="{54AD2FA5-F078-4846-94A5-AEDB9E9FC75D}" type="presParOf" srcId="{5EA87217-8003-42F8-921E-773E702D2B04}" destId="{8E5B79DE-AACA-41F8-BC60-D948ADA7BA06}" srcOrd="5" destOrd="0" presId="urn:microsoft.com/office/officeart/2005/8/layout/vList5"/>
    <dgm:cxn modelId="{74585E6F-6BD2-47AB-AD68-D73145544CD9}" type="presParOf" srcId="{5EA87217-8003-42F8-921E-773E702D2B04}" destId="{CC6873B3-4555-4914-88B0-D6D79DB1B473}" srcOrd="6" destOrd="0" presId="urn:microsoft.com/office/officeart/2005/8/layout/vList5"/>
    <dgm:cxn modelId="{4DCFC585-FC00-40AD-AECC-2BFDD75CA0B0}" type="presParOf" srcId="{CC6873B3-4555-4914-88B0-D6D79DB1B473}" destId="{32328D53-2A8B-44CD-B78D-A667B28B52D8}" srcOrd="0" destOrd="0" presId="urn:microsoft.com/office/officeart/2005/8/layout/vList5"/>
    <dgm:cxn modelId="{9308C2A8-4528-4134-91A6-CBD07F99EE4F}" type="presParOf" srcId="{CC6873B3-4555-4914-88B0-D6D79DB1B473}" destId="{98AC3D14-23A1-48DC-A6A5-DDA104FEF57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034BCB-F47B-4AB4-953E-2EDCCF9D9811}">
      <dsp:nvSpPr>
        <dsp:cNvPr id="0" name=""/>
        <dsp:cNvSpPr/>
      </dsp:nvSpPr>
      <dsp:spPr>
        <a:xfrm>
          <a:off x="0" y="2362"/>
          <a:ext cx="196033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SIS is on-premises</a:t>
          </a:r>
        </a:p>
      </dsp:txBody>
      <dsp:txXfrm>
        <a:off x="55465" y="57827"/>
        <a:ext cx="1849403" cy="1025269"/>
      </dsp:txXfrm>
    </dsp:sp>
    <dsp:sp modelId="{9D5F7959-E9A2-4AEA-9669-1B22392730F5}">
      <dsp:nvSpPr>
        <dsp:cNvPr id="0" name=""/>
        <dsp:cNvSpPr/>
      </dsp:nvSpPr>
      <dsp:spPr>
        <a:xfrm rot="5400000">
          <a:off x="3248372" y="20952"/>
          <a:ext cx="908959" cy="348503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serve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license cost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ost of installing / configuring /</a:t>
          </a:r>
          <a:br>
            <a:rPr lang="en-US" sz="1600" kern="1200" dirty="0"/>
          </a:br>
          <a:r>
            <a:rPr lang="en-US" sz="1600" kern="1200" dirty="0"/>
            <a:t>capex</a:t>
          </a:r>
        </a:p>
      </dsp:txBody>
      <dsp:txXfrm rot="-5400000">
        <a:off x="1960333" y="1353363"/>
        <a:ext cx="3440665" cy="820215"/>
      </dsp:txXfrm>
    </dsp:sp>
    <dsp:sp modelId="{4B753C60-2ACA-40EB-B05B-22B09677C519}">
      <dsp:nvSpPr>
        <dsp:cNvPr id="0" name=""/>
        <dsp:cNvSpPr/>
      </dsp:nvSpPr>
      <dsp:spPr>
        <a:xfrm>
          <a:off x="0" y="1195371"/>
          <a:ext cx="196033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any up-front costs</a:t>
          </a:r>
        </a:p>
      </dsp:txBody>
      <dsp:txXfrm>
        <a:off x="55465" y="1250836"/>
        <a:ext cx="1849403" cy="1025269"/>
      </dsp:txXfrm>
    </dsp:sp>
    <dsp:sp modelId="{DD9FB6B3-426A-4B65-9B6B-2321EC96BC13}">
      <dsp:nvSpPr>
        <dsp:cNvPr id="0" name=""/>
        <dsp:cNvSpPr/>
      </dsp:nvSpPr>
      <dsp:spPr>
        <a:xfrm rot="5400000">
          <a:off x="3248372" y="1213961"/>
          <a:ext cx="908959" cy="348503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maintenanc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developmen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“electricity”</a:t>
          </a:r>
        </a:p>
      </dsp:txBody>
      <dsp:txXfrm rot="-5400000">
        <a:off x="1960333" y="2546372"/>
        <a:ext cx="3440665" cy="820215"/>
      </dsp:txXfrm>
    </dsp:sp>
    <dsp:sp modelId="{8DE01CD8-C087-43DD-99BD-FD523B4F5919}">
      <dsp:nvSpPr>
        <dsp:cNvPr id="0" name=""/>
        <dsp:cNvSpPr/>
      </dsp:nvSpPr>
      <dsp:spPr>
        <a:xfrm>
          <a:off x="0" y="2388380"/>
          <a:ext cx="196033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not many running costs</a:t>
          </a:r>
        </a:p>
      </dsp:txBody>
      <dsp:txXfrm>
        <a:off x="55465" y="2443845"/>
        <a:ext cx="1849403" cy="1025269"/>
      </dsp:txXfrm>
    </dsp:sp>
    <dsp:sp modelId="{98AC3D14-23A1-48DC-A6A5-DDA104FEF57D}">
      <dsp:nvSpPr>
        <dsp:cNvPr id="0" name=""/>
        <dsp:cNvSpPr/>
      </dsp:nvSpPr>
      <dsp:spPr>
        <a:xfrm rot="5400000">
          <a:off x="3248372" y="2406971"/>
          <a:ext cx="908959" cy="348503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or how many tasks there are in a package</a:t>
          </a:r>
        </a:p>
      </dsp:txBody>
      <dsp:txXfrm rot="-5400000">
        <a:off x="1960333" y="3739382"/>
        <a:ext cx="3440665" cy="820215"/>
      </dsp:txXfrm>
    </dsp:sp>
    <dsp:sp modelId="{32328D53-2A8B-44CD-B78D-A667B28B52D8}">
      <dsp:nvSpPr>
        <dsp:cNvPr id="0" name=""/>
        <dsp:cNvSpPr/>
      </dsp:nvSpPr>
      <dsp:spPr>
        <a:xfrm>
          <a:off x="0" y="3581390"/>
          <a:ext cx="196033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it doesn’t matter how many packages you run</a:t>
          </a:r>
        </a:p>
      </dsp:txBody>
      <dsp:txXfrm>
        <a:off x="55465" y="3636855"/>
        <a:ext cx="1849403" cy="10252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034BCB-F47B-4AB4-953E-2EDCCF9D9811}">
      <dsp:nvSpPr>
        <dsp:cNvPr id="0" name=""/>
        <dsp:cNvSpPr/>
      </dsp:nvSpPr>
      <dsp:spPr>
        <a:xfrm>
          <a:off x="0" y="2362"/>
          <a:ext cx="182528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DF is in the cloud</a:t>
          </a:r>
        </a:p>
      </dsp:txBody>
      <dsp:txXfrm>
        <a:off x="55465" y="57827"/>
        <a:ext cx="1714353" cy="1025269"/>
      </dsp:txXfrm>
    </dsp:sp>
    <dsp:sp modelId="{9D5F7959-E9A2-4AEA-9669-1B22392730F5}">
      <dsp:nvSpPr>
        <dsp:cNvPr id="0" name=""/>
        <dsp:cNvSpPr/>
      </dsp:nvSpPr>
      <dsp:spPr>
        <a:xfrm rot="5400000">
          <a:off x="2993277" y="140997"/>
          <a:ext cx="908959" cy="324494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maybe self-hosted I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no license costs</a:t>
          </a:r>
        </a:p>
      </dsp:txBody>
      <dsp:txXfrm rot="-5400000">
        <a:off x="1825283" y="1353363"/>
        <a:ext cx="3200575" cy="820215"/>
      </dsp:txXfrm>
    </dsp:sp>
    <dsp:sp modelId="{4B753C60-2ACA-40EB-B05B-22B09677C519}">
      <dsp:nvSpPr>
        <dsp:cNvPr id="0" name=""/>
        <dsp:cNvSpPr/>
      </dsp:nvSpPr>
      <dsp:spPr>
        <a:xfrm>
          <a:off x="0" y="1195371"/>
          <a:ext cx="182528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aaS: no up-front costs</a:t>
          </a:r>
        </a:p>
      </dsp:txBody>
      <dsp:txXfrm>
        <a:off x="55465" y="1250836"/>
        <a:ext cx="1714353" cy="1025269"/>
      </dsp:txXfrm>
    </dsp:sp>
    <dsp:sp modelId="{DD9FB6B3-426A-4B65-9B6B-2321EC96BC13}">
      <dsp:nvSpPr>
        <dsp:cNvPr id="0" name=""/>
        <dsp:cNvSpPr/>
      </dsp:nvSpPr>
      <dsp:spPr>
        <a:xfrm rot="5400000">
          <a:off x="2993277" y="1334006"/>
          <a:ext cx="908959" cy="324494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ompute cost per minut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development</a:t>
          </a:r>
        </a:p>
      </dsp:txBody>
      <dsp:txXfrm rot="-5400000">
        <a:off x="1825283" y="2546372"/>
        <a:ext cx="3200575" cy="820215"/>
      </dsp:txXfrm>
    </dsp:sp>
    <dsp:sp modelId="{8DE01CD8-C087-43DD-99BD-FD523B4F5919}">
      <dsp:nvSpPr>
        <dsp:cNvPr id="0" name=""/>
        <dsp:cNvSpPr/>
      </dsp:nvSpPr>
      <dsp:spPr>
        <a:xfrm>
          <a:off x="0" y="2388380"/>
          <a:ext cx="182528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many running costs</a:t>
          </a:r>
        </a:p>
      </dsp:txBody>
      <dsp:txXfrm>
        <a:off x="55465" y="2443845"/>
        <a:ext cx="1714353" cy="1025269"/>
      </dsp:txXfrm>
    </dsp:sp>
    <dsp:sp modelId="{98AC3D14-23A1-48DC-A6A5-DDA104FEF57D}">
      <dsp:nvSpPr>
        <dsp:cNvPr id="0" name=""/>
        <dsp:cNvSpPr/>
      </dsp:nvSpPr>
      <dsp:spPr>
        <a:xfrm rot="5400000">
          <a:off x="2993277" y="2527016"/>
          <a:ext cx="908959" cy="324494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and how long they run</a:t>
          </a:r>
        </a:p>
      </dsp:txBody>
      <dsp:txXfrm rot="-5400000">
        <a:off x="1825283" y="3739382"/>
        <a:ext cx="3200575" cy="820215"/>
      </dsp:txXfrm>
    </dsp:sp>
    <dsp:sp modelId="{32328D53-2A8B-44CD-B78D-A667B28B52D8}">
      <dsp:nvSpPr>
        <dsp:cNvPr id="0" name=""/>
        <dsp:cNvSpPr/>
      </dsp:nvSpPr>
      <dsp:spPr>
        <a:xfrm>
          <a:off x="0" y="3581390"/>
          <a:ext cx="182528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# of activities has significant impact</a:t>
          </a:r>
        </a:p>
      </dsp:txBody>
      <dsp:txXfrm>
        <a:off x="55465" y="3636855"/>
        <a:ext cx="1714353" cy="10252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BA571-E4C4-46FA-BCB4-F91B90E09927}" type="datetimeFigureOut">
              <a:rPr lang="nl-BE" smtClean="0"/>
              <a:t>3/12/2025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F6258-B281-49EC-9D26-DA5F2F7B4208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233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F6258-B281-49EC-9D26-DA5F2F7B4208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B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4517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483870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760733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38428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08435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332965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65760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361369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741987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BB84FB-EE96-0D67-F232-85408228F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CD1514-27DA-6836-9CAB-1133CAC82A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7E7489-FC5E-60AA-7DDC-2CD2CBE7D7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9CF40B-985F-4680-3DBD-5A5171EB5F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567373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2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286984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2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265855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98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75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8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78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53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67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8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500309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559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6655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31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36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24631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4932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921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326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378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762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33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761450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77589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Template made by </a:t>
            </a:r>
            <a:r>
              <a:rPr lang="en-GB" dirty="0" err="1"/>
              <a:t>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23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77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01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995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83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2085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3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77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92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78145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748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04636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41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430940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eaker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4543" y="439583"/>
            <a:ext cx="9753600" cy="4965699"/>
          </a:xfrm>
        </p:spPr>
        <p:txBody>
          <a:bodyPr anchor="t"/>
          <a:lstStyle>
            <a:lvl1pPr algn="l">
              <a:lnSpc>
                <a:spcPct val="120000"/>
              </a:lnSpc>
              <a:defRPr sz="6000" b="1" i="0">
                <a:solidFill>
                  <a:schemeClr val="bg1"/>
                </a:solidFill>
                <a:latin typeface="IBM Plex Sans" panose="020B0503050203000203" pitchFamily="34" charset="77"/>
              </a:defRPr>
            </a:lvl1pPr>
          </a:lstStyle>
          <a:p>
            <a:r>
              <a:rPr lang="en-US" dirty="0"/>
              <a:t>This is a breaker page, it can be used to split topics or highlight something</a:t>
            </a:r>
          </a:p>
        </p:txBody>
      </p:sp>
    </p:spTree>
    <p:extLst>
      <p:ext uri="{BB962C8B-B14F-4D97-AF65-F5344CB8AC3E}">
        <p14:creationId xmlns:p14="http://schemas.microsoft.com/office/powerpoint/2010/main" val="34859309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87445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693243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821968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517446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3941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765026675"/>
      </p:ext>
    </p:extLst>
  </p:cSld>
  <p:clrMapOvr>
    <a:masterClrMapping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506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08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3006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651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87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439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242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925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2179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906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342132393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1569198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36401272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40578841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4152766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9346163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5226745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2637300"/>
      </p:ext>
    </p:extLst>
  </p:cSld>
  <p:clrMapOvr>
    <a:masterClrMapping/>
  </p:clrMapOvr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6683021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9316115"/>
      </p:ext>
    </p:extLst>
  </p:cSld>
  <p:clrMapOvr>
    <a:masterClrMapping/>
  </p:clrMapOvr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718478"/>
      </p:ext>
    </p:extLst>
  </p:cSld>
  <p:clrMapOvr>
    <a:masterClrMapping/>
  </p:clrMapOvr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9100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0717412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417957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92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4167827"/>
      </p:ext>
    </p:extLst>
  </p:cSld>
  <p:clrMapOvr>
    <a:masterClrMapping/>
  </p:clrMapOvr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64177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793493"/>
      </p:ext>
    </p:extLst>
  </p:cSld>
  <p:clrMapOvr>
    <a:masterClrMapping/>
  </p:clrMapOvr>
  <p:hf hd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223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30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25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035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341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5820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67435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9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97187013"/>
      </p:ext>
    </p:extLst>
  </p:cSld>
  <p:clrMapOvr>
    <a:masterClrMapping/>
  </p:clrMapOvr>
  <p:hf hd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758A4A-602B-9F46-BCDA-E75145D85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2B3A3-464B-6B4B-98C9-882832127905}" type="datetime1">
              <a:rPr lang="en-US" smtClean="0"/>
              <a:t>12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D35858-31C3-1D47-846B-80B423D5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204DC2-3413-3548-8CF8-C5C663E9B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9507F9A-98FE-9840-8666-8F444E9976E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36612" y="534210"/>
            <a:ext cx="10515599" cy="5745984"/>
          </a:xfrm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5387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28220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2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5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theme" Target="../theme/theme2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49" Type="http://schemas.openxmlformats.org/officeDocument/2006/relationships/image" Target="../media/image5.svg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tags" Target="../tags/tag11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32" imgH="530" progId="TCLayout.ActiveDocument.1">
                  <p:embed/>
                </p:oleObj>
              </mc:Choice>
              <mc:Fallback>
                <p:oleObj name="think-cell Slide" r:id="rId44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5" r:id="rId40"/>
    <p:sldLayoutId id="2147483726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32" imgH="530" progId="TCLayout.ActiveDocument.1">
                  <p:embed/>
                </p:oleObj>
              </mc:Choice>
              <mc:Fallback>
                <p:oleObj name="think-cell Slide" r:id="rId44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805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  <p:sldLayoutId id="2147483758" r:id="rId31"/>
    <p:sldLayoutId id="2147483759" r:id="rId32"/>
    <p:sldLayoutId id="2147483760" r:id="rId33"/>
    <p:sldLayoutId id="2147483761" r:id="rId34"/>
    <p:sldLayoutId id="2147483762" r:id="rId35"/>
    <p:sldLayoutId id="2147483763" r:id="rId36"/>
    <p:sldLayoutId id="2147483764" r:id="rId37"/>
    <p:sldLayoutId id="2147483765" r:id="rId38"/>
    <p:sldLayoutId id="2147483766" r:id="rId39"/>
    <p:sldLayoutId id="2147483767" r:id="rId40"/>
    <p:sldLayoutId id="2147483768" r:id="rId4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27.svg"/><Relationship Id="rId11" Type="http://schemas.openxmlformats.org/officeDocument/2006/relationships/image" Target="../media/image32.jp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be.com/watch?v=Fct1dcZMyWs" TargetMode="External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6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gif"/><Relationship Id="rId1" Type="http://schemas.openxmlformats.org/officeDocument/2006/relationships/slideLayout" Target="../slideLayouts/slideLayout4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4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fabric/data-factory/pricing-scenario-load-1-tb-parquet-to-data-warehouse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0.xml"/><Relationship Id="rId4" Type="http://schemas.openxmlformats.org/officeDocument/2006/relationships/hyperlink" Target="https://learn.microsoft.com/en-us/fabric/data-factory/pricing-overview#pricing-examples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D84C2D4-A9B0-9462-48D9-81618A5E29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9838110" cy="1903106"/>
          </a:xfrm>
        </p:spPr>
        <p:txBody>
          <a:bodyPr>
            <a:normAutofit fontScale="90000"/>
          </a:bodyPr>
          <a:lstStyle/>
          <a:p>
            <a:r>
              <a:rPr lang="en-US" dirty="0"/>
              <a:t>How I saved 80% on my Azure Data Factory Costs</a:t>
            </a:r>
            <a:endParaRPr lang="nl-BE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47470EA-B5C1-BAB4-F649-B9DC54E649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Koen Verbeeck – He/him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7785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7F5F9D5-22FB-5F32-696E-D1C2F105FDE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5411" y="2447235"/>
            <a:ext cx="6471691" cy="267637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454531C-98FD-9E6D-148B-E736E8D71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peline = control flow</a:t>
            </a:r>
            <a:endParaRPr lang="nl-B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E323FC5-B82A-7789-7DB8-5D7A70EDDD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306" y="1213674"/>
            <a:ext cx="352201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96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8A9C576-B38E-2928-92D5-FB216231E4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5838" y="1036758"/>
            <a:ext cx="2116015" cy="56723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6323469-1037-CB58-7DE9-5FA7320E51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1853" y="1061310"/>
            <a:ext cx="1748478" cy="563306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454531C-98FD-9E6D-148B-E736E8D71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vities = control flow tasks</a:t>
            </a:r>
            <a:endParaRPr lang="nl-B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90E920E-B860-23AF-CC7E-3C47DC5B09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1670" y="1602859"/>
            <a:ext cx="2019475" cy="431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926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0199DB-DC75-75C7-C88E-1212BEFD8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cedence constraints?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992546-FE25-3AC7-EE56-4835ADF63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65" y="1818505"/>
            <a:ext cx="4582104" cy="24774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83A7D68-CFF5-5AF9-4E4E-95A4E0F87A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8041" y="3963385"/>
            <a:ext cx="7678881" cy="2477405"/>
          </a:xfrm>
          <a:prstGeom prst="rect">
            <a:avLst/>
          </a:prstGeom>
        </p:spPr>
      </p:pic>
      <p:pic>
        <p:nvPicPr>
          <p:cNvPr id="6" name="Picture 2" descr="yeah.... nope. - Willy Wonka | Meme Generator">
            <a:extLst>
              <a:ext uri="{FF2B5EF4-FFF2-40B4-BE49-F238E27FC236}">
                <a16:creationId xmlns:a16="http://schemas.microsoft.com/office/drawing/2014/main" id="{5D587167-E6BE-E636-619F-294BBDB60C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3761" y="528457"/>
            <a:ext cx="2942492" cy="2942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20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C387C8-A73F-55C0-731D-20E4A0AB4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py data activity = data flow with only source and destination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E17E8C-EA4C-1695-37C5-B2E5FAB6FE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" y="2057378"/>
            <a:ext cx="5806902" cy="38476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A953C6-B88B-AFAE-ECA2-33BAA05EBE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5116" y="1420614"/>
            <a:ext cx="1920406" cy="4374259"/>
          </a:xfrm>
          <a:prstGeom prst="rect">
            <a:avLst/>
          </a:prstGeom>
        </p:spPr>
      </p:pic>
      <p:pic>
        <p:nvPicPr>
          <p:cNvPr id="1026" name="Picture 2" descr="State Province Name highlighted in the Data Viewer">
            <a:extLst>
              <a:ext uri="{FF2B5EF4-FFF2-40B4-BE49-F238E27FC236}">
                <a16:creationId xmlns:a16="http://schemas.microsoft.com/office/drawing/2014/main" id="{D34521AB-21CD-E9E5-BA49-6B8B84B9F2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324"/>
          <a:stretch>
            <a:fillRect/>
          </a:stretch>
        </p:blipFill>
        <p:spPr bwMode="auto">
          <a:xfrm>
            <a:off x="6513953" y="2307230"/>
            <a:ext cx="340122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800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AC797D2-6D97-C139-3ACB-7BE9816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800" dirty="0"/>
          </a:p>
          <a:p>
            <a:r>
              <a:rPr lang="en-US" sz="2800" dirty="0"/>
              <a:t>points to a certain data location</a:t>
            </a:r>
          </a:p>
          <a:p>
            <a:r>
              <a:rPr lang="en-US" sz="2800" dirty="0"/>
              <a:t>contains info on how to authenticate</a:t>
            </a:r>
          </a:p>
          <a:p>
            <a:r>
              <a:rPr lang="en-US" sz="2800" dirty="0"/>
              <a:t>can integrate with Azure Key Vault</a:t>
            </a:r>
            <a:endParaRPr lang="nl-BE" sz="2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44CAB5-BD1C-E2D4-80C6-808EA06EE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inked service =</a:t>
            </a:r>
            <a:br>
              <a:rPr lang="en-US" dirty="0"/>
            </a:br>
            <a:r>
              <a:rPr lang="en-US" dirty="0"/>
              <a:t>connection manager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834E800-8A81-4E9E-B617-D41F435731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9456" y="0"/>
            <a:ext cx="4352544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16F744D-CA11-2212-AEE1-8EC151DB35FB}"/>
              </a:ext>
            </a:extLst>
          </p:cNvPr>
          <p:cNvSpPr txBox="1"/>
          <p:nvPr/>
        </p:nvSpPr>
        <p:spPr>
          <a:xfrm>
            <a:off x="7834503" y="5243826"/>
            <a:ext cx="2181225" cy="314325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958367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EF92BE-AF2B-B6AB-D3E0-1362BF515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et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4309BF-DE88-29EB-FA4F-BAAECB6D1F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0209" y="1061749"/>
            <a:ext cx="8241792" cy="5796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735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B4C691-894C-B80C-E24B-6DC6829D4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runtime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F735C8-EE3D-F360-0F3A-ED6266C237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84"/>
          <a:stretch/>
        </p:blipFill>
        <p:spPr>
          <a:xfrm>
            <a:off x="876848" y="1307115"/>
            <a:ext cx="7079999" cy="1144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63FDA4-7CC3-2F99-1FB2-B7BFECD4E32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74" t="2636" r="1376"/>
          <a:stretch/>
        </p:blipFill>
        <p:spPr>
          <a:xfrm>
            <a:off x="876848" y="3675612"/>
            <a:ext cx="6981825" cy="11514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19485F-7361-8D1A-7E71-3188D7F54D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3717" y="2558408"/>
            <a:ext cx="7643522" cy="8458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DC31B44-F46D-0439-B798-478AB4B0C4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848" y="5213631"/>
            <a:ext cx="7149819" cy="1151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26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E87B6-1310-0393-AF6C-DD14C2171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SIS vs ADF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80A824-28C3-58B7-51BE-8B8F95791A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5070231" cy="5400989"/>
          </a:xfrm>
        </p:spPr>
        <p:txBody>
          <a:bodyPr>
            <a:normAutofit/>
          </a:bodyPr>
          <a:lstStyle/>
          <a:p>
            <a:r>
              <a:rPr lang="en-US" dirty="0"/>
              <a:t>SSIS is on-premises</a:t>
            </a:r>
          </a:p>
          <a:p>
            <a:r>
              <a:rPr lang="en-US" dirty="0"/>
              <a:t>many up-front costs</a:t>
            </a:r>
          </a:p>
          <a:p>
            <a:pPr lvl="1"/>
            <a:r>
              <a:rPr lang="en-US" dirty="0"/>
              <a:t>server</a:t>
            </a:r>
          </a:p>
          <a:p>
            <a:pPr lvl="1"/>
            <a:r>
              <a:rPr lang="en-US" dirty="0"/>
              <a:t>license costs</a:t>
            </a:r>
          </a:p>
          <a:p>
            <a:pPr lvl="1"/>
            <a:r>
              <a:rPr lang="en-US" dirty="0"/>
              <a:t>cost of installing / configuring /</a:t>
            </a:r>
            <a:br>
              <a:rPr lang="en-US" dirty="0"/>
            </a:br>
            <a:r>
              <a:rPr lang="en-US" dirty="0"/>
              <a:t>capex</a:t>
            </a:r>
          </a:p>
          <a:p>
            <a:r>
              <a:rPr lang="en-US" dirty="0"/>
              <a:t>not many running costs</a:t>
            </a:r>
          </a:p>
          <a:p>
            <a:pPr lvl="1"/>
            <a:r>
              <a:rPr lang="en-US" dirty="0"/>
              <a:t>maintenance</a:t>
            </a:r>
          </a:p>
          <a:p>
            <a:pPr lvl="1"/>
            <a:r>
              <a:rPr lang="en-US" dirty="0"/>
              <a:t>development</a:t>
            </a:r>
          </a:p>
          <a:p>
            <a:pPr lvl="1"/>
            <a:r>
              <a:rPr lang="en-US" dirty="0"/>
              <a:t>“electricity”</a:t>
            </a:r>
          </a:p>
          <a:p>
            <a:r>
              <a:rPr lang="en-US" dirty="0"/>
              <a:t>it doesn’t matter how many packages you run</a:t>
            </a:r>
          </a:p>
          <a:p>
            <a:pPr lvl="1"/>
            <a:r>
              <a:rPr lang="en-US" dirty="0"/>
              <a:t>or how many tasks there are in a package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DD6EBE-E982-E68A-CC6C-3F6F043CC2E3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US" dirty="0"/>
              <a:t>ADF is in the cloud</a:t>
            </a:r>
          </a:p>
          <a:p>
            <a:r>
              <a:rPr lang="en-US" dirty="0"/>
              <a:t>SaaS: no up-front costs</a:t>
            </a:r>
          </a:p>
          <a:p>
            <a:pPr lvl="1"/>
            <a:r>
              <a:rPr lang="en-US" dirty="0"/>
              <a:t>maybe a server for an on-premises integration runtime (gateway)</a:t>
            </a:r>
          </a:p>
          <a:p>
            <a:r>
              <a:rPr lang="en-US" dirty="0"/>
              <a:t>many running costs</a:t>
            </a:r>
          </a:p>
          <a:p>
            <a:pPr lvl="1"/>
            <a:r>
              <a:rPr lang="en-US" dirty="0"/>
              <a:t>mostly compute costs per minute</a:t>
            </a:r>
          </a:p>
          <a:p>
            <a:pPr lvl="1"/>
            <a:r>
              <a:rPr lang="en-US" dirty="0"/>
              <a:t>development</a:t>
            </a:r>
          </a:p>
          <a:p>
            <a:r>
              <a:rPr lang="en-US" dirty="0"/>
              <a:t>the number of activities or pipelines has a significant impact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44694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CA24DF-2BB0-89B4-8214-67BD4C4515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97126F-D515-AA15-DEA5-CEAB79C0A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 anchor="b">
            <a:normAutofit/>
          </a:bodyPr>
          <a:lstStyle/>
          <a:p>
            <a:r>
              <a:rPr lang="en-US" dirty="0"/>
              <a:t>SSIS vs ADF</a:t>
            </a:r>
            <a:endParaRPr lang="nl-BE" dirty="0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A4867992-5AA3-9A7A-C21D-2F3D23AF33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22158041"/>
              </p:ext>
            </p:extLst>
          </p:nvPr>
        </p:nvGraphicFramePr>
        <p:xfrm>
          <a:off x="563879" y="1457011"/>
          <a:ext cx="5445371" cy="47199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75B093B-5E85-0F4B-DCC0-11A0995B92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3287714"/>
              </p:ext>
            </p:extLst>
          </p:nvPr>
        </p:nvGraphicFramePr>
        <p:xfrm>
          <a:off x="6283571" y="1457011"/>
          <a:ext cx="5070231" cy="47199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897805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419E55-2390-5B0D-C4B3-129542C973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5F073DA-B35A-214A-F669-765C466DB4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9084585" cy="1903106"/>
          </a:xfrm>
        </p:spPr>
        <p:txBody>
          <a:bodyPr/>
          <a:lstStyle/>
          <a:p>
            <a:r>
              <a:rPr lang="en-US" dirty="0"/>
              <a:t>How to save on costs</a:t>
            </a:r>
            <a:endParaRPr lang="en-BE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D6F787EB-7778-5996-ABF4-67A2FFA2C60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176036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41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764" y="-440143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1909" y="-350255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raphic 22">
            <a:extLst>
              <a:ext uri="{FF2B5EF4-FFF2-40B4-BE49-F238E27FC236}">
                <a16:creationId xmlns:a16="http://schemas.microsoft.com/office/drawing/2014/main" id="{D5894BAA-8AB2-65D9-1B7A-7DB41CB0FDDB}"/>
              </a:ext>
            </a:extLst>
          </p:cNvPr>
          <p:cNvSpPr/>
          <p:nvPr/>
        </p:nvSpPr>
        <p:spPr>
          <a:xfrm>
            <a:off x="2401908" y="-2558955"/>
            <a:ext cx="1192477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1910130" y="229450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oen Verbeec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1910130" y="3148502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@Ko_V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1910130" y="485648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QLkover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1910130" y="4002495"/>
            <a:ext cx="2072947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@koenv.bsky.social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16D830-E522-4C0C-E78D-8F34E7373740}"/>
              </a:ext>
            </a:extLst>
          </p:cNvPr>
          <p:cNvGrpSpPr/>
          <p:nvPr/>
        </p:nvGrpSpPr>
        <p:grpSpPr>
          <a:xfrm>
            <a:off x="994023" y="3042655"/>
            <a:ext cx="670848" cy="671487"/>
            <a:chOff x="-3669270" y="3958097"/>
            <a:chExt cx="2773132" cy="2772242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DBAAF9-C70C-DDDD-6ECA-5D5595B99B11}"/>
                </a:ext>
              </a:extLst>
            </p:cNvPr>
            <p:cNvSpPr/>
            <p:nvPr/>
          </p:nvSpPr>
          <p:spPr>
            <a:xfrm>
              <a:off x="-3003850" y="4734985"/>
              <a:ext cx="1441962" cy="1221436"/>
            </a:xfrm>
            <a:custGeom>
              <a:avLst/>
              <a:gdLst>
                <a:gd name="connsiteX0" fmla="*/ 1220046 w 1441962"/>
                <a:gd name="connsiteY0" fmla="*/ 111220 h 1221436"/>
                <a:gd name="connsiteX1" fmla="*/ 1220046 w 1441962"/>
                <a:gd name="connsiteY1" fmla="*/ 0 h 1221436"/>
                <a:gd name="connsiteX2" fmla="*/ 1109253 w 1441962"/>
                <a:gd name="connsiteY2" fmla="*/ 0 h 1221436"/>
                <a:gd name="connsiteX3" fmla="*/ 998459 w 1441962"/>
                <a:gd name="connsiteY3" fmla="*/ 0 h 1221436"/>
                <a:gd name="connsiteX4" fmla="*/ 887336 w 1441962"/>
                <a:gd name="connsiteY4" fmla="*/ 0 h 1221436"/>
                <a:gd name="connsiteX5" fmla="*/ 887336 w 1441962"/>
                <a:gd name="connsiteY5" fmla="*/ 111220 h 1221436"/>
                <a:gd name="connsiteX6" fmla="*/ 776543 w 1441962"/>
                <a:gd name="connsiteY6" fmla="*/ 111220 h 1221436"/>
                <a:gd name="connsiteX7" fmla="*/ 776543 w 1441962"/>
                <a:gd name="connsiteY7" fmla="*/ 222109 h 1221436"/>
                <a:gd name="connsiteX8" fmla="*/ 776543 w 1441962"/>
                <a:gd name="connsiteY8" fmla="*/ 333329 h 1221436"/>
                <a:gd name="connsiteX9" fmla="*/ 665750 w 1441962"/>
                <a:gd name="connsiteY9" fmla="*/ 333329 h 1221436"/>
                <a:gd name="connsiteX10" fmla="*/ 665750 w 1441962"/>
                <a:gd name="connsiteY10" fmla="*/ 444219 h 1221436"/>
                <a:gd name="connsiteX11" fmla="*/ 554626 w 1441962"/>
                <a:gd name="connsiteY11" fmla="*/ 444219 h 1221436"/>
                <a:gd name="connsiteX12" fmla="*/ 443833 w 1441962"/>
                <a:gd name="connsiteY12" fmla="*/ 444219 h 1221436"/>
                <a:gd name="connsiteX13" fmla="*/ 443833 w 1441962"/>
                <a:gd name="connsiteY13" fmla="*/ 333329 h 1221436"/>
                <a:gd name="connsiteX14" fmla="*/ 332710 w 1441962"/>
                <a:gd name="connsiteY14" fmla="*/ 333329 h 1221436"/>
                <a:gd name="connsiteX15" fmla="*/ 332710 w 1441962"/>
                <a:gd name="connsiteY15" fmla="*/ 222109 h 1221436"/>
                <a:gd name="connsiteX16" fmla="*/ 221917 w 1441962"/>
                <a:gd name="connsiteY16" fmla="*/ 222109 h 1221436"/>
                <a:gd name="connsiteX17" fmla="*/ 221917 w 1441962"/>
                <a:gd name="connsiteY17" fmla="*/ 111220 h 1221436"/>
                <a:gd name="connsiteX18" fmla="*/ 111123 w 1441962"/>
                <a:gd name="connsiteY18" fmla="*/ 111220 h 1221436"/>
                <a:gd name="connsiteX19" fmla="*/ 111123 w 1441962"/>
                <a:gd name="connsiteY19" fmla="*/ 0 h 1221436"/>
                <a:gd name="connsiteX20" fmla="*/ 0 w 1441962"/>
                <a:gd name="connsiteY20" fmla="*/ 0 h 1221436"/>
                <a:gd name="connsiteX21" fmla="*/ 0 w 1441962"/>
                <a:gd name="connsiteY21" fmla="*/ 111220 h 1221436"/>
                <a:gd name="connsiteX22" fmla="*/ 0 w 1441962"/>
                <a:gd name="connsiteY22" fmla="*/ 222109 h 1221436"/>
                <a:gd name="connsiteX23" fmla="*/ 0 w 1441962"/>
                <a:gd name="connsiteY23" fmla="*/ 333329 h 1221436"/>
                <a:gd name="connsiteX24" fmla="*/ 111123 w 1441962"/>
                <a:gd name="connsiteY24" fmla="*/ 333329 h 1221436"/>
                <a:gd name="connsiteX25" fmla="*/ 111123 w 1441962"/>
                <a:gd name="connsiteY25" fmla="*/ 444219 h 1221436"/>
                <a:gd name="connsiteX26" fmla="*/ 0 w 1441962"/>
                <a:gd name="connsiteY26" fmla="*/ 444219 h 1221436"/>
                <a:gd name="connsiteX27" fmla="*/ 0 w 1441962"/>
                <a:gd name="connsiteY27" fmla="*/ 555108 h 1221436"/>
                <a:gd name="connsiteX28" fmla="*/ 111123 w 1441962"/>
                <a:gd name="connsiteY28" fmla="*/ 555108 h 1221436"/>
                <a:gd name="connsiteX29" fmla="*/ 111123 w 1441962"/>
                <a:gd name="connsiteY29" fmla="*/ 666328 h 1221436"/>
                <a:gd name="connsiteX30" fmla="*/ 221917 w 1441962"/>
                <a:gd name="connsiteY30" fmla="*/ 666328 h 1221436"/>
                <a:gd name="connsiteX31" fmla="*/ 221917 w 1441962"/>
                <a:gd name="connsiteY31" fmla="*/ 777218 h 1221436"/>
                <a:gd name="connsiteX32" fmla="*/ 111123 w 1441962"/>
                <a:gd name="connsiteY32" fmla="*/ 777218 h 1221436"/>
                <a:gd name="connsiteX33" fmla="*/ 111123 w 1441962"/>
                <a:gd name="connsiteY33" fmla="*/ 888108 h 1221436"/>
                <a:gd name="connsiteX34" fmla="*/ 221917 w 1441962"/>
                <a:gd name="connsiteY34" fmla="*/ 888108 h 1221436"/>
                <a:gd name="connsiteX35" fmla="*/ 332710 w 1441962"/>
                <a:gd name="connsiteY35" fmla="*/ 888108 h 1221436"/>
                <a:gd name="connsiteX36" fmla="*/ 332710 w 1441962"/>
                <a:gd name="connsiteY36" fmla="*/ 999327 h 1221436"/>
                <a:gd name="connsiteX37" fmla="*/ 332710 w 1441962"/>
                <a:gd name="connsiteY37" fmla="*/ 1110217 h 1221436"/>
                <a:gd name="connsiteX38" fmla="*/ 221917 w 1441962"/>
                <a:gd name="connsiteY38" fmla="*/ 1110217 h 1221436"/>
                <a:gd name="connsiteX39" fmla="*/ 111123 w 1441962"/>
                <a:gd name="connsiteY39" fmla="*/ 1110217 h 1221436"/>
                <a:gd name="connsiteX40" fmla="*/ 111123 w 1441962"/>
                <a:gd name="connsiteY40" fmla="*/ 1221437 h 1221436"/>
                <a:gd name="connsiteX41" fmla="*/ 221917 w 1441962"/>
                <a:gd name="connsiteY41" fmla="*/ 1221437 h 1221436"/>
                <a:gd name="connsiteX42" fmla="*/ 332710 w 1441962"/>
                <a:gd name="connsiteY42" fmla="*/ 1221437 h 1221436"/>
                <a:gd name="connsiteX43" fmla="*/ 443833 w 1441962"/>
                <a:gd name="connsiteY43" fmla="*/ 1221437 h 1221436"/>
                <a:gd name="connsiteX44" fmla="*/ 554626 w 1441962"/>
                <a:gd name="connsiteY44" fmla="*/ 1221437 h 1221436"/>
                <a:gd name="connsiteX45" fmla="*/ 665750 w 1441962"/>
                <a:gd name="connsiteY45" fmla="*/ 1221437 h 1221436"/>
                <a:gd name="connsiteX46" fmla="*/ 776543 w 1441962"/>
                <a:gd name="connsiteY46" fmla="*/ 1221437 h 1221436"/>
                <a:gd name="connsiteX47" fmla="*/ 887336 w 1441962"/>
                <a:gd name="connsiteY47" fmla="*/ 1221437 h 1221436"/>
                <a:gd name="connsiteX48" fmla="*/ 887336 w 1441962"/>
                <a:gd name="connsiteY48" fmla="*/ 1110217 h 1221436"/>
                <a:gd name="connsiteX49" fmla="*/ 998459 w 1441962"/>
                <a:gd name="connsiteY49" fmla="*/ 1110217 h 1221436"/>
                <a:gd name="connsiteX50" fmla="*/ 998459 w 1441962"/>
                <a:gd name="connsiteY50" fmla="*/ 999327 h 1221436"/>
                <a:gd name="connsiteX51" fmla="*/ 1109253 w 1441962"/>
                <a:gd name="connsiteY51" fmla="*/ 999327 h 1221436"/>
                <a:gd name="connsiteX52" fmla="*/ 1109253 w 1441962"/>
                <a:gd name="connsiteY52" fmla="*/ 888108 h 1221436"/>
                <a:gd name="connsiteX53" fmla="*/ 1220046 w 1441962"/>
                <a:gd name="connsiteY53" fmla="*/ 888108 h 1221436"/>
                <a:gd name="connsiteX54" fmla="*/ 1220046 w 1441962"/>
                <a:gd name="connsiteY54" fmla="*/ 777218 h 1221436"/>
                <a:gd name="connsiteX55" fmla="*/ 1220046 w 1441962"/>
                <a:gd name="connsiteY55" fmla="*/ 666328 h 1221436"/>
                <a:gd name="connsiteX56" fmla="*/ 1331169 w 1441962"/>
                <a:gd name="connsiteY56" fmla="*/ 666328 h 1221436"/>
                <a:gd name="connsiteX57" fmla="*/ 1331169 w 1441962"/>
                <a:gd name="connsiteY57" fmla="*/ 555108 h 1221436"/>
                <a:gd name="connsiteX58" fmla="*/ 1331169 w 1441962"/>
                <a:gd name="connsiteY58" fmla="*/ 444219 h 1221436"/>
                <a:gd name="connsiteX59" fmla="*/ 1220046 w 1441962"/>
                <a:gd name="connsiteY59" fmla="*/ 444219 h 1221436"/>
                <a:gd name="connsiteX60" fmla="*/ 1220046 w 1441962"/>
                <a:gd name="connsiteY60" fmla="*/ 333329 h 1221436"/>
                <a:gd name="connsiteX61" fmla="*/ 1331169 w 1441962"/>
                <a:gd name="connsiteY61" fmla="*/ 333329 h 1221436"/>
                <a:gd name="connsiteX62" fmla="*/ 1331169 w 1441962"/>
                <a:gd name="connsiteY62" fmla="*/ 222109 h 1221436"/>
                <a:gd name="connsiteX63" fmla="*/ 1441963 w 1441962"/>
                <a:gd name="connsiteY63" fmla="*/ 222109 h 1221436"/>
                <a:gd name="connsiteX64" fmla="*/ 1441963 w 1441962"/>
                <a:gd name="connsiteY64" fmla="*/ 111220 h 1221436"/>
                <a:gd name="connsiteX65" fmla="*/ 1331169 w 1441962"/>
                <a:gd name="connsiteY65" fmla="*/ 111220 h 122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41962" h="1221436">
                  <a:moveTo>
                    <a:pt x="1220046" y="111220"/>
                  </a:move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336" y="0"/>
                  </a:ln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222109"/>
                  </a:lnTo>
                  <a:lnTo>
                    <a:pt x="776543" y="333329"/>
                  </a:lnTo>
                  <a:lnTo>
                    <a:pt x="665750" y="333329"/>
                  </a:lnTo>
                  <a:lnTo>
                    <a:pt x="665750" y="444219"/>
                  </a:lnTo>
                  <a:lnTo>
                    <a:pt x="554626" y="444219"/>
                  </a:lnTo>
                  <a:lnTo>
                    <a:pt x="443833" y="444219"/>
                  </a:lnTo>
                  <a:lnTo>
                    <a:pt x="443833" y="333329"/>
                  </a:lnTo>
                  <a:lnTo>
                    <a:pt x="332710" y="333329"/>
                  </a:lnTo>
                  <a:lnTo>
                    <a:pt x="332710" y="222109"/>
                  </a:lnTo>
                  <a:lnTo>
                    <a:pt x="221917" y="222109"/>
                  </a:lnTo>
                  <a:lnTo>
                    <a:pt x="221917" y="111220"/>
                  </a:lnTo>
                  <a:lnTo>
                    <a:pt x="111123" y="11122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3329"/>
                  </a:lnTo>
                  <a:lnTo>
                    <a:pt x="111123" y="333329"/>
                  </a:lnTo>
                  <a:lnTo>
                    <a:pt x="111123" y="444219"/>
                  </a:lnTo>
                  <a:lnTo>
                    <a:pt x="0" y="444219"/>
                  </a:lnTo>
                  <a:lnTo>
                    <a:pt x="0" y="555108"/>
                  </a:lnTo>
                  <a:lnTo>
                    <a:pt x="111123" y="555108"/>
                  </a:lnTo>
                  <a:lnTo>
                    <a:pt x="111123" y="666328"/>
                  </a:lnTo>
                  <a:lnTo>
                    <a:pt x="221917" y="666328"/>
                  </a:lnTo>
                  <a:lnTo>
                    <a:pt x="221917" y="777218"/>
                  </a:lnTo>
                  <a:lnTo>
                    <a:pt x="111123" y="777218"/>
                  </a:lnTo>
                  <a:lnTo>
                    <a:pt x="111123" y="888108"/>
                  </a:lnTo>
                  <a:lnTo>
                    <a:pt x="221917" y="888108"/>
                  </a:lnTo>
                  <a:lnTo>
                    <a:pt x="332710" y="888108"/>
                  </a:lnTo>
                  <a:lnTo>
                    <a:pt x="332710" y="999327"/>
                  </a:lnTo>
                  <a:lnTo>
                    <a:pt x="332710" y="1110217"/>
                  </a:lnTo>
                  <a:lnTo>
                    <a:pt x="221917" y="1110217"/>
                  </a:lnTo>
                  <a:lnTo>
                    <a:pt x="111123" y="1110217"/>
                  </a:lnTo>
                  <a:lnTo>
                    <a:pt x="111123" y="1221437"/>
                  </a:lnTo>
                  <a:lnTo>
                    <a:pt x="221917" y="1221437"/>
                  </a:lnTo>
                  <a:lnTo>
                    <a:pt x="332710" y="1221437"/>
                  </a:lnTo>
                  <a:lnTo>
                    <a:pt x="443833" y="1221437"/>
                  </a:lnTo>
                  <a:lnTo>
                    <a:pt x="554626" y="1221437"/>
                  </a:lnTo>
                  <a:lnTo>
                    <a:pt x="665750" y="1221437"/>
                  </a:lnTo>
                  <a:lnTo>
                    <a:pt x="776543" y="1221437"/>
                  </a:lnTo>
                  <a:lnTo>
                    <a:pt x="887336" y="1221437"/>
                  </a:lnTo>
                  <a:lnTo>
                    <a:pt x="887336" y="1110217"/>
                  </a:lnTo>
                  <a:lnTo>
                    <a:pt x="998459" y="1110217"/>
                  </a:lnTo>
                  <a:lnTo>
                    <a:pt x="998459" y="999327"/>
                  </a:lnTo>
                  <a:lnTo>
                    <a:pt x="1109253" y="999327"/>
                  </a:lnTo>
                  <a:lnTo>
                    <a:pt x="1109253" y="888108"/>
                  </a:lnTo>
                  <a:lnTo>
                    <a:pt x="1220046" y="888108"/>
                  </a:lnTo>
                  <a:lnTo>
                    <a:pt x="1220046" y="777218"/>
                  </a:lnTo>
                  <a:lnTo>
                    <a:pt x="1220046" y="666328"/>
                  </a:lnTo>
                  <a:lnTo>
                    <a:pt x="1331169" y="666328"/>
                  </a:lnTo>
                  <a:lnTo>
                    <a:pt x="1331169" y="555108"/>
                  </a:lnTo>
                  <a:lnTo>
                    <a:pt x="1331169" y="444219"/>
                  </a:lnTo>
                  <a:lnTo>
                    <a:pt x="1220046" y="444219"/>
                  </a:lnTo>
                  <a:lnTo>
                    <a:pt x="1220046" y="333329"/>
                  </a:lnTo>
                  <a:lnTo>
                    <a:pt x="1331169" y="333329"/>
                  </a:lnTo>
                  <a:lnTo>
                    <a:pt x="1331169" y="222109"/>
                  </a:lnTo>
                  <a:lnTo>
                    <a:pt x="1441963" y="222109"/>
                  </a:lnTo>
                  <a:lnTo>
                    <a:pt x="1441963" y="111220"/>
                  </a:lnTo>
                  <a:lnTo>
                    <a:pt x="1331169" y="111220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7F1FA93-F350-028B-DCDE-7ABE8EE808D5}"/>
                </a:ext>
              </a:extLst>
            </p:cNvPr>
            <p:cNvSpPr/>
            <p:nvPr/>
          </p:nvSpPr>
          <p:spPr>
            <a:xfrm>
              <a:off x="-3669270" y="3958097"/>
              <a:ext cx="2773132" cy="2772242"/>
            </a:xfrm>
            <a:custGeom>
              <a:avLst/>
              <a:gdLst>
                <a:gd name="connsiteX0" fmla="*/ 2662009 w 2773132"/>
                <a:gd name="connsiteY0" fmla="*/ 221779 h 2772242"/>
                <a:gd name="connsiteX1" fmla="*/ 2551216 w 2773132"/>
                <a:gd name="connsiteY1" fmla="*/ 221779 h 2772242"/>
                <a:gd name="connsiteX2" fmla="*/ 2551216 w 2773132"/>
                <a:gd name="connsiteY2" fmla="*/ 110890 h 2772242"/>
                <a:gd name="connsiteX3" fmla="*/ 2440092 w 2773132"/>
                <a:gd name="connsiteY3" fmla="*/ 110890 h 2772242"/>
                <a:gd name="connsiteX4" fmla="*/ 2440092 w 2773132"/>
                <a:gd name="connsiteY4" fmla="*/ 0 h 2772242"/>
                <a:gd name="connsiteX5" fmla="*/ 2329299 w 2773132"/>
                <a:gd name="connsiteY5" fmla="*/ 0 h 2772242"/>
                <a:gd name="connsiteX6" fmla="*/ 2218506 w 2773132"/>
                <a:gd name="connsiteY6" fmla="*/ 0 h 2772242"/>
                <a:gd name="connsiteX7" fmla="*/ 2107712 w 2773132"/>
                <a:gd name="connsiteY7" fmla="*/ 0 h 2772242"/>
                <a:gd name="connsiteX8" fmla="*/ 1996919 w 2773132"/>
                <a:gd name="connsiteY8" fmla="*/ 0 h 2772242"/>
                <a:gd name="connsiteX9" fmla="*/ 1886126 w 2773132"/>
                <a:gd name="connsiteY9" fmla="*/ 0 h 2772242"/>
                <a:gd name="connsiteX10" fmla="*/ 1775332 w 2773132"/>
                <a:gd name="connsiteY10" fmla="*/ 0 h 2772242"/>
                <a:gd name="connsiteX11" fmla="*/ 1664539 w 2773132"/>
                <a:gd name="connsiteY11" fmla="*/ 0 h 2772242"/>
                <a:gd name="connsiteX12" fmla="*/ 1553745 w 2773132"/>
                <a:gd name="connsiteY12" fmla="*/ 0 h 2772242"/>
                <a:gd name="connsiteX13" fmla="*/ 1442952 w 2773132"/>
                <a:gd name="connsiteY13" fmla="*/ 0 h 2772242"/>
                <a:gd name="connsiteX14" fmla="*/ 1332159 w 2773132"/>
                <a:gd name="connsiteY14" fmla="*/ 0 h 2772242"/>
                <a:gd name="connsiteX15" fmla="*/ 1220046 w 2773132"/>
                <a:gd name="connsiteY15" fmla="*/ 0 h 2772242"/>
                <a:gd name="connsiteX16" fmla="*/ 1109253 w 2773132"/>
                <a:gd name="connsiteY16" fmla="*/ 0 h 2772242"/>
                <a:gd name="connsiteX17" fmla="*/ 998459 w 2773132"/>
                <a:gd name="connsiteY17" fmla="*/ 0 h 2772242"/>
                <a:gd name="connsiteX18" fmla="*/ 887666 w 2773132"/>
                <a:gd name="connsiteY18" fmla="*/ 0 h 2772242"/>
                <a:gd name="connsiteX19" fmla="*/ 776873 w 2773132"/>
                <a:gd name="connsiteY19" fmla="*/ 0 h 2772242"/>
                <a:gd name="connsiteX20" fmla="*/ 666079 w 2773132"/>
                <a:gd name="connsiteY20" fmla="*/ 0 h 2772242"/>
                <a:gd name="connsiteX21" fmla="*/ 555286 w 2773132"/>
                <a:gd name="connsiteY21" fmla="*/ 0 h 2772242"/>
                <a:gd name="connsiteX22" fmla="*/ 444493 w 2773132"/>
                <a:gd name="connsiteY22" fmla="*/ 0 h 2772242"/>
                <a:gd name="connsiteX23" fmla="*/ 333699 w 2773132"/>
                <a:gd name="connsiteY23" fmla="*/ 0 h 2772242"/>
                <a:gd name="connsiteX24" fmla="*/ 333699 w 2773132"/>
                <a:gd name="connsiteY24" fmla="*/ 110890 h 2772242"/>
                <a:gd name="connsiteX25" fmla="*/ 221917 w 2773132"/>
                <a:gd name="connsiteY25" fmla="*/ 110890 h 2772242"/>
                <a:gd name="connsiteX26" fmla="*/ 221917 w 2773132"/>
                <a:gd name="connsiteY26" fmla="*/ 221779 h 2772242"/>
                <a:gd name="connsiteX27" fmla="*/ 110793 w 2773132"/>
                <a:gd name="connsiteY27" fmla="*/ 221779 h 2772242"/>
                <a:gd name="connsiteX28" fmla="*/ 110793 w 2773132"/>
                <a:gd name="connsiteY28" fmla="*/ 332669 h 2772242"/>
                <a:gd name="connsiteX29" fmla="*/ 0 w 2773132"/>
                <a:gd name="connsiteY29" fmla="*/ 332669 h 2772242"/>
                <a:gd name="connsiteX30" fmla="*/ 0 w 2773132"/>
                <a:gd name="connsiteY30" fmla="*/ 443559 h 2772242"/>
                <a:gd name="connsiteX31" fmla="*/ 0 w 2773132"/>
                <a:gd name="connsiteY31" fmla="*/ 554449 h 2772242"/>
                <a:gd name="connsiteX32" fmla="*/ 0 w 2773132"/>
                <a:gd name="connsiteY32" fmla="*/ 665338 h 2772242"/>
                <a:gd name="connsiteX33" fmla="*/ 0 w 2773132"/>
                <a:gd name="connsiteY33" fmla="*/ 776228 h 2772242"/>
                <a:gd name="connsiteX34" fmla="*/ 0 w 2773132"/>
                <a:gd name="connsiteY34" fmla="*/ 887118 h 2772242"/>
                <a:gd name="connsiteX35" fmla="*/ 0 w 2773132"/>
                <a:gd name="connsiteY35" fmla="*/ 998007 h 2772242"/>
                <a:gd name="connsiteX36" fmla="*/ 0 w 2773132"/>
                <a:gd name="connsiteY36" fmla="*/ 1108897 h 2772242"/>
                <a:gd name="connsiteX37" fmla="*/ 0 w 2773132"/>
                <a:gd name="connsiteY37" fmla="*/ 1219787 h 2772242"/>
                <a:gd name="connsiteX38" fmla="*/ 0 w 2773132"/>
                <a:gd name="connsiteY38" fmla="*/ 1330676 h 2772242"/>
                <a:gd name="connsiteX39" fmla="*/ 0 w 2773132"/>
                <a:gd name="connsiteY39" fmla="*/ 1441566 h 2772242"/>
                <a:gd name="connsiteX40" fmla="*/ 0 w 2773132"/>
                <a:gd name="connsiteY40" fmla="*/ 1552456 h 2772242"/>
                <a:gd name="connsiteX41" fmla="*/ 0 w 2773132"/>
                <a:gd name="connsiteY41" fmla="*/ 1663346 h 2772242"/>
                <a:gd name="connsiteX42" fmla="*/ 0 w 2773132"/>
                <a:gd name="connsiteY42" fmla="*/ 1774235 h 2772242"/>
                <a:gd name="connsiteX43" fmla="*/ 0 w 2773132"/>
                <a:gd name="connsiteY43" fmla="*/ 1885125 h 2772242"/>
                <a:gd name="connsiteX44" fmla="*/ 0 w 2773132"/>
                <a:gd name="connsiteY44" fmla="*/ 1996015 h 2772242"/>
                <a:gd name="connsiteX45" fmla="*/ 0 w 2773132"/>
                <a:gd name="connsiteY45" fmla="*/ 2106905 h 2772242"/>
                <a:gd name="connsiteX46" fmla="*/ 0 w 2773132"/>
                <a:gd name="connsiteY46" fmla="*/ 2217794 h 2772242"/>
                <a:gd name="connsiteX47" fmla="*/ 0 w 2773132"/>
                <a:gd name="connsiteY47" fmla="*/ 2328684 h 2772242"/>
                <a:gd name="connsiteX48" fmla="*/ 0 w 2773132"/>
                <a:gd name="connsiteY48" fmla="*/ 2439573 h 2772242"/>
                <a:gd name="connsiteX49" fmla="*/ 110793 w 2773132"/>
                <a:gd name="connsiteY49" fmla="*/ 2439573 h 2772242"/>
                <a:gd name="connsiteX50" fmla="*/ 110793 w 2773132"/>
                <a:gd name="connsiteY50" fmla="*/ 2550463 h 2772242"/>
                <a:gd name="connsiteX51" fmla="*/ 221587 w 2773132"/>
                <a:gd name="connsiteY51" fmla="*/ 2550463 h 2772242"/>
                <a:gd name="connsiteX52" fmla="*/ 221587 w 2773132"/>
                <a:gd name="connsiteY52" fmla="*/ 2661353 h 2772242"/>
                <a:gd name="connsiteX53" fmla="*/ 332380 w 2773132"/>
                <a:gd name="connsiteY53" fmla="*/ 2661353 h 2772242"/>
                <a:gd name="connsiteX54" fmla="*/ 332380 w 2773132"/>
                <a:gd name="connsiteY54" fmla="*/ 2772243 h 2772242"/>
                <a:gd name="connsiteX55" fmla="*/ 443174 w 2773132"/>
                <a:gd name="connsiteY55" fmla="*/ 2772243 h 2772242"/>
                <a:gd name="connsiteX56" fmla="*/ 553967 w 2773132"/>
                <a:gd name="connsiteY56" fmla="*/ 2772243 h 2772242"/>
                <a:gd name="connsiteX57" fmla="*/ 664760 w 2773132"/>
                <a:gd name="connsiteY57" fmla="*/ 2772243 h 2772242"/>
                <a:gd name="connsiteX58" fmla="*/ 775554 w 2773132"/>
                <a:gd name="connsiteY58" fmla="*/ 2772243 h 2772242"/>
                <a:gd name="connsiteX59" fmla="*/ 886347 w 2773132"/>
                <a:gd name="connsiteY59" fmla="*/ 2772243 h 2772242"/>
                <a:gd name="connsiteX60" fmla="*/ 997140 w 2773132"/>
                <a:gd name="connsiteY60" fmla="*/ 2772243 h 2772242"/>
                <a:gd name="connsiteX61" fmla="*/ 1107934 w 2773132"/>
                <a:gd name="connsiteY61" fmla="*/ 2772243 h 2772242"/>
                <a:gd name="connsiteX62" fmla="*/ 1220046 w 2773132"/>
                <a:gd name="connsiteY62" fmla="*/ 2772243 h 2772242"/>
                <a:gd name="connsiteX63" fmla="*/ 1330840 w 2773132"/>
                <a:gd name="connsiteY63" fmla="*/ 2772243 h 2772242"/>
                <a:gd name="connsiteX64" fmla="*/ 1441633 w 2773132"/>
                <a:gd name="connsiteY64" fmla="*/ 2772243 h 2772242"/>
                <a:gd name="connsiteX65" fmla="*/ 1552426 w 2773132"/>
                <a:gd name="connsiteY65" fmla="*/ 2772243 h 2772242"/>
                <a:gd name="connsiteX66" fmla="*/ 1663220 w 2773132"/>
                <a:gd name="connsiteY66" fmla="*/ 2772243 h 2772242"/>
                <a:gd name="connsiteX67" fmla="*/ 1774013 w 2773132"/>
                <a:gd name="connsiteY67" fmla="*/ 2772243 h 2772242"/>
                <a:gd name="connsiteX68" fmla="*/ 1884806 w 2773132"/>
                <a:gd name="connsiteY68" fmla="*/ 2772243 h 2772242"/>
                <a:gd name="connsiteX69" fmla="*/ 1995600 w 2773132"/>
                <a:gd name="connsiteY69" fmla="*/ 2772243 h 2772242"/>
                <a:gd name="connsiteX70" fmla="*/ 2106393 w 2773132"/>
                <a:gd name="connsiteY70" fmla="*/ 2772243 h 2772242"/>
                <a:gd name="connsiteX71" fmla="*/ 2217187 w 2773132"/>
                <a:gd name="connsiteY71" fmla="*/ 2772243 h 2772242"/>
                <a:gd name="connsiteX72" fmla="*/ 2327980 w 2773132"/>
                <a:gd name="connsiteY72" fmla="*/ 2772243 h 2772242"/>
                <a:gd name="connsiteX73" fmla="*/ 2440092 w 2773132"/>
                <a:gd name="connsiteY73" fmla="*/ 2772243 h 2772242"/>
                <a:gd name="connsiteX74" fmla="*/ 2440092 w 2773132"/>
                <a:gd name="connsiteY74" fmla="*/ 2661353 h 2772242"/>
                <a:gd name="connsiteX75" fmla="*/ 2550886 w 2773132"/>
                <a:gd name="connsiteY75" fmla="*/ 2661353 h 2772242"/>
                <a:gd name="connsiteX76" fmla="*/ 2550886 w 2773132"/>
                <a:gd name="connsiteY76" fmla="*/ 2550463 h 2772242"/>
                <a:gd name="connsiteX77" fmla="*/ 2661679 w 2773132"/>
                <a:gd name="connsiteY77" fmla="*/ 2550463 h 2772242"/>
                <a:gd name="connsiteX78" fmla="*/ 2661679 w 2773132"/>
                <a:gd name="connsiteY78" fmla="*/ 2439573 h 2772242"/>
                <a:gd name="connsiteX79" fmla="*/ 2773132 w 2773132"/>
                <a:gd name="connsiteY79" fmla="*/ 2439573 h 2772242"/>
                <a:gd name="connsiteX80" fmla="*/ 2773132 w 2773132"/>
                <a:gd name="connsiteY80" fmla="*/ 2328684 h 2772242"/>
                <a:gd name="connsiteX81" fmla="*/ 2773132 w 2773132"/>
                <a:gd name="connsiteY81" fmla="*/ 2217794 h 2772242"/>
                <a:gd name="connsiteX82" fmla="*/ 2773132 w 2773132"/>
                <a:gd name="connsiteY82" fmla="*/ 2106905 h 2772242"/>
                <a:gd name="connsiteX83" fmla="*/ 2773132 w 2773132"/>
                <a:gd name="connsiteY83" fmla="*/ 1998325 h 2772242"/>
                <a:gd name="connsiteX84" fmla="*/ 2773132 w 2773132"/>
                <a:gd name="connsiteY84" fmla="*/ 1887435 h 2772242"/>
                <a:gd name="connsiteX85" fmla="*/ 2773132 w 2773132"/>
                <a:gd name="connsiteY85" fmla="*/ 1776546 h 2772242"/>
                <a:gd name="connsiteX86" fmla="*/ 2773132 w 2773132"/>
                <a:gd name="connsiteY86" fmla="*/ 1664996 h 2772242"/>
                <a:gd name="connsiteX87" fmla="*/ 2773132 w 2773132"/>
                <a:gd name="connsiteY87" fmla="*/ 1554106 h 2772242"/>
                <a:gd name="connsiteX88" fmla="*/ 2773132 w 2773132"/>
                <a:gd name="connsiteY88" fmla="*/ 1443216 h 2772242"/>
                <a:gd name="connsiteX89" fmla="*/ 2773132 w 2773132"/>
                <a:gd name="connsiteY89" fmla="*/ 1332326 h 2772242"/>
                <a:gd name="connsiteX90" fmla="*/ 2773132 w 2773132"/>
                <a:gd name="connsiteY90" fmla="*/ 1221437 h 2772242"/>
                <a:gd name="connsiteX91" fmla="*/ 2773132 w 2773132"/>
                <a:gd name="connsiteY91" fmla="*/ 1110547 h 2772242"/>
                <a:gd name="connsiteX92" fmla="*/ 2773132 w 2773132"/>
                <a:gd name="connsiteY92" fmla="*/ 999658 h 2772242"/>
                <a:gd name="connsiteX93" fmla="*/ 2773132 w 2773132"/>
                <a:gd name="connsiteY93" fmla="*/ 888768 h 2772242"/>
                <a:gd name="connsiteX94" fmla="*/ 2773132 w 2773132"/>
                <a:gd name="connsiteY94" fmla="*/ 777878 h 2772242"/>
                <a:gd name="connsiteX95" fmla="*/ 2773132 w 2773132"/>
                <a:gd name="connsiteY95" fmla="*/ 666988 h 2772242"/>
                <a:gd name="connsiteX96" fmla="*/ 2773132 w 2773132"/>
                <a:gd name="connsiteY96" fmla="*/ 556099 h 2772242"/>
                <a:gd name="connsiteX97" fmla="*/ 2773132 w 2773132"/>
                <a:gd name="connsiteY97" fmla="*/ 443889 h 2772242"/>
                <a:gd name="connsiteX98" fmla="*/ 2773132 w 2773132"/>
                <a:gd name="connsiteY98" fmla="*/ 332999 h 2772242"/>
                <a:gd name="connsiteX99" fmla="*/ 2662339 w 2773132"/>
                <a:gd name="connsiteY99" fmla="*/ 332999 h 2772242"/>
                <a:gd name="connsiteX100" fmla="*/ 2662339 w 2773132"/>
                <a:gd name="connsiteY100" fmla="*/ 221779 h 2772242"/>
                <a:gd name="connsiteX101" fmla="*/ 776543 w 2773132"/>
                <a:gd name="connsiteY101" fmla="*/ 776888 h 2772242"/>
                <a:gd name="connsiteX102" fmla="*/ 776543 w 2773132"/>
                <a:gd name="connsiteY102" fmla="*/ 887778 h 2772242"/>
                <a:gd name="connsiteX103" fmla="*/ 887336 w 2773132"/>
                <a:gd name="connsiteY103" fmla="*/ 887778 h 2772242"/>
                <a:gd name="connsiteX104" fmla="*/ 887336 w 2773132"/>
                <a:gd name="connsiteY104" fmla="*/ 998667 h 2772242"/>
                <a:gd name="connsiteX105" fmla="*/ 998130 w 2773132"/>
                <a:gd name="connsiteY105" fmla="*/ 998667 h 2772242"/>
                <a:gd name="connsiteX106" fmla="*/ 998130 w 2773132"/>
                <a:gd name="connsiteY106" fmla="*/ 1109557 h 2772242"/>
                <a:gd name="connsiteX107" fmla="*/ 1108923 w 2773132"/>
                <a:gd name="connsiteY107" fmla="*/ 1109557 h 2772242"/>
                <a:gd name="connsiteX108" fmla="*/ 1108923 w 2773132"/>
                <a:gd name="connsiteY108" fmla="*/ 1220447 h 2772242"/>
                <a:gd name="connsiteX109" fmla="*/ 1220046 w 2773132"/>
                <a:gd name="connsiteY109" fmla="*/ 1220447 h 2772242"/>
                <a:gd name="connsiteX110" fmla="*/ 1330840 w 2773132"/>
                <a:gd name="connsiteY110" fmla="*/ 1220447 h 2772242"/>
                <a:gd name="connsiteX111" fmla="*/ 1330840 w 2773132"/>
                <a:gd name="connsiteY111" fmla="*/ 1109557 h 2772242"/>
                <a:gd name="connsiteX112" fmla="*/ 1441633 w 2773132"/>
                <a:gd name="connsiteY112" fmla="*/ 1109557 h 2772242"/>
                <a:gd name="connsiteX113" fmla="*/ 1441633 w 2773132"/>
                <a:gd name="connsiteY113" fmla="*/ 998667 h 2772242"/>
                <a:gd name="connsiteX114" fmla="*/ 1441633 w 2773132"/>
                <a:gd name="connsiteY114" fmla="*/ 887778 h 2772242"/>
                <a:gd name="connsiteX115" fmla="*/ 1552426 w 2773132"/>
                <a:gd name="connsiteY115" fmla="*/ 887778 h 2772242"/>
                <a:gd name="connsiteX116" fmla="*/ 1552426 w 2773132"/>
                <a:gd name="connsiteY116" fmla="*/ 776888 h 2772242"/>
                <a:gd name="connsiteX117" fmla="*/ 1663220 w 2773132"/>
                <a:gd name="connsiteY117" fmla="*/ 776888 h 2772242"/>
                <a:gd name="connsiteX118" fmla="*/ 1774013 w 2773132"/>
                <a:gd name="connsiteY118" fmla="*/ 776888 h 2772242"/>
                <a:gd name="connsiteX119" fmla="*/ 1884806 w 2773132"/>
                <a:gd name="connsiteY119" fmla="*/ 776888 h 2772242"/>
                <a:gd name="connsiteX120" fmla="*/ 1884806 w 2773132"/>
                <a:gd name="connsiteY120" fmla="*/ 887778 h 2772242"/>
                <a:gd name="connsiteX121" fmla="*/ 1995600 w 2773132"/>
                <a:gd name="connsiteY121" fmla="*/ 887778 h 2772242"/>
                <a:gd name="connsiteX122" fmla="*/ 2106393 w 2773132"/>
                <a:gd name="connsiteY122" fmla="*/ 887778 h 2772242"/>
                <a:gd name="connsiteX123" fmla="*/ 2106393 w 2773132"/>
                <a:gd name="connsiteY123" fmla="*/ 998667 h 2772242"/>
                <a:gd name="connsiteX124" fmla="*/ 1995600 w 2773132"/>
                <a:gd name="connsiteY124" fmla="*/ 998667 h 2772242"/>
                <a:gd name="connsiteX125" fmla="*/ 1995600 w 2773132"/>
                <a:gd name="connsiteY125" fmla="*/ 1109557 h 2772242"/>
                <a:gd name="connsiteX126" fmla="*/ 1884806 w 2773132"/>
                <a:gd name="connsiteY126" fmla="*/ 1109557 h 2772242"/>
                <a:gd name="connsiteX127" fmla="*/ 1884806 w 2773132"/>
                <a:gd name="connsiteY127" fmla="*/ 1220447 h 2772242"/>
                <a:gd name="connsiteX128" fmla="*/ 1995600 w 2773132"/>
                <a:gd name="connsiteY128" fmla="*/ 1220447 h 2772242"/>
                <a:gd name="connsiteX129" fmla="*/ 1995600 w 2773132"/>
                <a:gd name="connsiteY129" fmla="*/ 1331337 h 2772242"/>
                <a:gd name="connsiteX130" fmla="*/ 1995600 w 2773132"/>
                <a:gd name="connsiteY130" fmla="*/ 1442226 h 2772242"/>
                <a:gd name="connsiteX131" fmla="*/ 1884806 w 2773132"/>
                <a:gd name="connsiteY131" fmla="*/ 1442226 h 2772242"/>
                <a:gd name="connsiteX132" fmla="*/ 1884806 w 2773132"/>
                <a:gd name="connsiteY132" fmla="*/ 1553116 h 2772242"/>
                <a:gd name="connsiteX133" fmla="*/ 1884806 w 2773132"/>
                <a:gd name="connsiteY133" fmla="*/ 1664005 h 2772242"/>
                <a:gd name="connsiteX134" fmla="*/ 1774013 w 2773132"/>
                <a:gd name="connsiteY134" fmla="*/ 1664005 h 2772242"/>
                <a:gd name="connsiteX135" fmla="*/ 1774013 w 2773132"/>
                <a:gd name="connsiteY135" fmla="*/ 1774896 h 2772242"/>
                <a:gd name="connsiteX136" fmla="*/ 1663220 w 2773132"/>
                <a:gd name="connsiteY136" fmla="*/ 1774896 h 2772242"/>
                <a:gd name="connsiteX137" fmla="*/ 1663220 w 2773132"/>
                <a:gd name="connsiteY137" fmla="*/ 1885785 h 2772242"/>
                <a:gd name="connsiteX138" fmla="*/ 1552426 w 2773132"/>
                <a:gd name="connsiteY138" fmla="*/ 1885785 h 2772242"/>
                <a:gd name="connsiteX139" fmla="*/ 1552426 w 2773132"/>
                <a:gd name="connsiteY139" fmla="*/ 1996675 h 2772242"/>
                <a:gd name="connsiteX140" fmla="*/ 1441633 w 2773132"/>
                <a:gd name="connsiteY140" fmla="*/ 1996675 h 2772242"/>
                <a:gd name="connsiteX141" fmla="*/ 1330840 w 2773132"/>
                <a:gd name="connsiteY141" fmla="*/ 1996675 h 2772242"/>
                <a:gd name="connsiteX142" fmla="*/ 1220046 w 2773132"/>
                <a:gd name="connsiteY142" fmla="*/ 1996675 h 2772242"/>
                <a:gd name="connsiteX143" fmla="*/ 1109253 w 2773132"/>
                <a:gd name="connsiteY143" fmla="*/ 1996675 h 2772242"/>
                <a:gd name="connsiteX144" fmla="*/ 998459 w 2773132"/>
                <a:gd name="connsiteY144" fmla="*/ 1996675 h 2772242"/>
                <a:gd name="connsiteX145" fmla="*/ 887666 w 2773132"/>
                <a:gd name="connsiteY145" fmla="*/ 1996675 h 2772242"/>
                <a:gd name="connsiteX146" fmla="*/ 776873 w 2773132"/>
                <a:gd name="connsiteY146" fmla="*/ 1996675 h 2772242"/>
                <a:gd name="connsiteX147" fmla="*/ 776873 w 2773132"/>
                <a:gd name="connsiteY147" fmla="*/ 1885785 h 2772242"/>
                <a:gd name="connsiteX148" fmla="*/ 887666 w 2773132"/>
                <a:gd name="connsiteY148" fmla="*/ 1885785 h 2772242"/>
                <a:gd name="connsiteX149" fmla="*/ 998459 w 2773132"/>
                <a:gd name="connsiteY149" fmla="*/ 1885785 h 2772242"/>
                <a:gd name="connsiteX150" fmla="*/ 998459 w 2773132"/>
                <a:gd name="connsiteY150" fmla="*/ 1774896 h 2772242"/>
                <a:gd name="connsiteX151" fmla="*/ 998459 w 2773132"/>
                <a:gd name="connsiteY151" fmla="*/ 1664996 h 2772242"/>
                <a:gd name="connsiteX152" fmla="*/ 887666 w 2773132"/>
                <a:gd name="connsiteY152" fmla="*/ 1664996 h 2772242"/>
                <a:gd name="connsiteX153" fmla="*/ 776873 w 2773132"/>
                <a:gd name="connsiteY153" fmla="*/ 1664996 h 2772242"/>
                <a:gd name="connsiteX154" fmla="*/ 776873 w 2773132"/>
                <a:gd name="connsiteY154" fmla="*/ 1554106 h 2772242"/>
                <a:gd name="connsiteX155" fmla="*/ 887666 w 2773132"/>
                <a:gd name="connsiteY155" fmla="*/ 1554106 h 2772242"/>
                <a:gd name="connsiteX156" fmla="*/ 887666 w 2773132"/>
                <a:gd name="connsiteY156" fmla="*/ 1443216 h 2772242"/>
                <a:gd name="connsiteX157" fmla="*/ 776873 w 2773132"/>
                <a:gd name="connsiteY157" fmla="*/ 1443216 h 2772242"/>
                <a:gd name="connsiteX158" fmla="*/ 776873 w 2773132"/>
                <a:gd name="connsiteY158" fmla="*/ 1332326 h 2772242"/>
                <a:gd name="connsiteX159" fmla="*/ 666079 w 2773132"/>
                <a:gd name="connsiteY159" fmla="*/ 1332326 h 2772242"/>
                <a:gd name="connsiteX160" fmla="*/ 666079 w 2773132"/>
                <a:gd name="connsiteY160" fmla="*/ 1221437 h 2772242"/>
                <a:gd name="connsiteX161" fmla="*/ 776873 w 2773132"/>
                <a:gd name="connsiteY161" fmla="*/ 1221437 h 2772242"/>
                <a:gd name="connsiteX162" fmla="*/ 776873 w 2773132"/>
                <a:gd name="connsiteY162" fmla="*/ 1110547 h 2772242"/>
                <a:gd name="connsiteX163" fmla="*/ 666079 w 2773132"/>
                <a:gd name="connsiteY163" fmla="*/ 1110547 h 2772242"/>
                <a:gd name="connsiteX164" fmla="*/ 666079 w 2773132"/>
                <a:gd name="connsiteY164" fmla="*/ 999658 h 2772242"/>
                <a:gd name="connsiteX165" fmla="*/ 666079 w 2773132"/>
                <a:gd name="connsiteY165" fmla="*/ 888768 h 2772242"/>
                <a:gd name="connsiteX166" fmla="*/ 666079 w 2773132"/>
                <a:gd name="connsiteY166" fmla="*/ 777878 h 2772242"/>
                <a:gd name="connsiteX167" fmla="*/ 776543 w 2773132"/>
                <a:gd name="connsiteY167" fmla="*/ 777878 h 277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73132" h="2772242">
                  <a:moveTo>
                    <a:pt x="2662009" y="221779"/>
                  </a:moveTo>
                  <a:lnTo>
                    <a:pt x="2551216" y="22177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19787"/>
                  </a:lnTo>
                  <a:lnTo>
                    <a:pt x="0" y="1330676"/>
                  </a:lnTo>
                  <a:lnTo>
                    <a:pt x="0" y="1441566"/>
                  </a:lnTo>
                  <a:lnTo>
                    <a:pt x="0" y="1552456"/>
                  </a:lnTo>
                  <a:lnTo>
                    <a:pt x="0" y="1663346"/>
                  </a:lnTo>
                  <a:lnTo>
                    <a:pt x="0" y="1774235"/>
                  </a:lnTo>
                  <a:lnTo>
                    <a:pt x="0" y="1885125"/>
                  </a:lnTo>
                  <a:lnTo>
                    <a:pt x="0" y="1996015"/>
                  </a:lnTo>
                  <a:lnTo>
                    <a:pt x="0" y="2106905"/>
                  </a:lnTo>
                  <a:lnTo>
                    <a:pt x="0" y="2217794"/>
                  </a:lnTo>
                  <a:lnTo>
                    <a:pt x="0" y="2328684"/>
                  </a:lnTo>
                  <a:lnTo>
                    <a:pt x="0" y="2439573"/>
                  </a:lnTo>
                  <a:lnTo>
                    <a:pt x="110793" y="2439573"/>
                  </a:lnTo>
                  <a:lnTo>
                    <a:pt x="110793" y="2550463"/>
                  </a:lnTo>
                  <a:lnTo>
                    <a:pt x="221587" y="2550463"/>
                  </a:lnTo>
                  <a:lnTo>
                    <a:pt x="221587" y="2661353"/>
                  </a:lnTo>
                  <a:lnTo>
                    <a:pt x="332380" y="2661353"/>
                  </a:lnTo>
                  <a:lnTo>
                    <a:pt x="332380" y="2772243"/>
                  </a:lnTo>
                  <a:lnTo>
                    <a:pt x="443174" y="2772243"/>
                  </a:lnTo>
                  <a:lnTo>
                    <a:pt x="553967" y="2772243"/>
                  </a:lnTo>
                  <a:lnTo>
                    <a:pt x="664760" y="2772243"/>
                  </a:lnTo>
                  <a:lnTo>
                    <a:pt x="775554" y="2772243"/>
                  </a:lnTo>
                  <a:lnTo>
                    <a:pt x="886347" y="2772243"/>
                  </a:lnTo>
                  <a:lnTo>
                    <a:pt x="997140" y="2772243"/>
                  </a:lnTo>
                  <a:lnTo>
                    <a:pt x="1107934" y="2772243"/>
                  </a:lnTo>
                  <a:lnTo>
                    <a:pt x="1220046" y="2772243"/>
                  </a:lnTo>
                  <a:lnTo>
                    <a:pt x="1330840" y="2772243"/>
                  </a:lnTo>
                  <a:lnTo>
                    <a:pt x="1441633" y="2772243"/>
                  </a:lnTo>
                  <a:lnTo>
                    <a:pt x="1552426" y="2772243"/>
                  </a:lnTo>
                  <a:lnTo>
                    <a:pt x="1663220" y="2772243"/>
                  </a:lnTo>
                  <a:lnTo>
                    <a:pt x="1774013" y="2772243"/>
                  </a:lnTo>
                  <a:lnTo>
                    <a:pt x="1884806" y="2772243"/>
                  </a:lnTo>
                  <a:lnTo>
                    <a:pt x="1995600" y="2772243"/>
                  </a:lnTo>
                  <a:lnTo>
                    <a:pt x="2106393" y="2772243"/>
                  </a:lnTo>
                  <a:lnTo>
                    <a:pt x="2217187" y="2772243"/>
                  </a:lnTo>
                  <a:lnTo>
                    <a:pt x="2327980" y="2772243"/>
                  </a:lnTo>
                  <a:lnTo>
                    <a:pt x="2440092" y="2772243"/>
                  </a:lnTo>
                  <a:lnTo>
                    <a:pt x="2440092" y="2661353"/>
                  </a:lnTo>
                  <a:lnTo>
                    <a:pt x="2550886" y="2661353"/>
                  </a:lnTo>
                  <a:lnTo>
                    <a:pt x="2550886" y="2550463"/>
                  </a:lnTo>
                  <a:lnTo>
                    <a:pt x="2661679" y="2550463"/>
                  </a:lnTo>
                  <a:lnTo>
                    <a:pt x="2661679" y="2439573"/>
                  </a:lnTo>
                  <a:lnTo>
                    <a:pt x="2773132" y="2439573"/>
                  </a:lnTo>
                  <a:lnTo>
                    <a:pt x="2773132" y="2328684"/>
                  </a:lnTo>
                  <a:lnTo>
                    <a:pt x="2773132" y="2217794"/>
                  </a:lnTo>
                  <a:lnTo>
                    <a:pt x="2773132" y="2106905"/>
                  </a:lnTo>
                  <a:lnTo>
                    <a:pt x="2773132" y="1998325"/>
                  </a:lnTo>
                  <a:lnTo>
                    <a:pt x="2773132" y="1887435"/>
                  </a:lnTo>
                  <a:lnTo>
                    <a:pt x="2773132" y="1776546"/>
                  </a:lnTo>
                  <a:lnTo>
                    <a:pt x="2773132" y="1664996"/>
                  </a:lnTo>
                  <a:lnTo>
                    <a:pt x="2773132" y="1554106"/>
                  </a:lnTo>
                  <a:lnTo>
                    <a:pt x="2773132" y="1443216"/>
                  </a:lnTo>
                  <a:lnTo>
                    <a:pt x="2773132" y="1332326"/>
                  </a:lnTo>
                  <a:lnTo>
                    <a:pt x="2773132" y="1221437"/>
                  </a:lnTo>
                  <a:lnTo>
                    <a:pt x="2773132" y="1110547"/>
                  </a:lnTo>
                  <a:lnTo>
                    <a:pt x="2773132" y="999658"/>
                  </a:lnTo>
                  <a:lnTo>
                    <a:pt x="2773132" y="888768"/>
                  </a:lnTo>
                  <a:lnTo>
                    <a:pt x="2773132" y="777878"/>
                  </a:lnTo>
                  <a:lnTo>
                    <a:pt x="2773132" y="666988"/>
                  </a:lnTo>
                  <a:lnTo>
                    <a:pt x="2773132" y="556099"/>
                  </a:lnTo>
                  <a:lnTo>
                    <a:pt x="2773132" y="443889"/>
                  </a:lnTo>
                  <a:lnTo>
                    <a:pt x="2773132" y="332999"/>
                  </a:lnTo>
                  <a:lnTo>
                    <a:pt x="2662339" y="332999"/>
                  </a:lnTo>
                  <a:lnTo>
                    <a:pt x="2662339" y="221779"/>
                  </a:lnTo>
                  <a:close/>
                  <a:moveTo>
                    <a:pt x="776543" y="776888"/>
                  </a:moveTo>
                  <a:lnTo>
                    <a:pt x="776543" y="887778"/>
                  </a:lnTo>
                  <a:lnTo>
                    <a:pt x="887336" y="887778"/>
                  </a:lnTo>
                  <a:lnTo>
                    <a:pt x="887336" y="998667"/>
                  </a:lnTo>
                  <a:lnTo>
                    <a:pt x="998130" y="998667"/>
                  </a:lnTo>
                  <a:lnTo>
                    <a:pt x="998130" y="1109557"/>
                  </a:lnTo>
                  <a:lnTo>
                    <a:pt x="1108923" y="1109557"/>
                  </a:lnTo>
                  <a:lnTo>
                    <a:pt x="1108923" y="1220447"/>
                  </a:lnTo>
                  <a:lnTo>
                    <a:pt x="1220046" y="1220447"/>
                  </a:lnTo>
                  <a:lnTo>
                    <a:pt x="1330840" y="1220447"/>
                  </a:lnTo>
                  <a:lnTo>
                    <a:pt x="1330840" y="1109557"/>
                  </a:lnTo>
                  <a:lnTo>
                    <a:pt x="1441633" y="1109557"/>
                  </a:lnTo>
                  <a:lnTo>
                    <a:pt x="1441633" y="998667"/>
                  </a:lnTo>
                  <a:lnTo>
                    <a:pt x="1441633" y="887778"/>
                  </a:lnTo>
                  <a:lnTo>
                    <a:pt x="1552426" y="887778"/>
                  </a:lnTo>
                  <a:lnTo>
                    <a:pt x="1552426" y="776888"/>
                  </a:lnTo>
                  <a:lnTo>
                    <a:pt x="1663220" y="776888"/>
                  </a:lnTo>
                  <a:lnTo>
                    <a:pt x="1774013" y="776888"/>
                  </a:lnTo>
                  <a:lnTo>
                    <a:pt x="1884806" y="776888"/>
                  </a:lnTo>
                  <a:lnTo>
                    <a:pt x="1884806" y="887778"/>
                  </a:lnTo>
                  <a:lnTo>
                    <a:pt x="1995600" y="887778"/>
                  </a:lnTo>
                  <a:lnTo>
                    <a:pt x="2106393" y="887778"/>
                  </a:lnTo>
                  <a:lnTo>
                    <a:pt x="2106393" y="998667"/>
                  </a:lnTo>
                  <a:lnTo>
                    <a:pt x="1995600" y="998667"/>
                  </a:lnTo>
                  <a:lnTo>
                    <a:pt x="1995600" y="1109557"/>
                  </a:lnTo>
                  <a:lnTo>
                    <a:pt x="1884806" y="1109557"/>
                  </a:lnTo>
                  <a:lnTo>
                    <a:pt x="1884806" y="1220447"/>
                  </a:lnTo>
                  <a:lnTo>
                    <a:pt x="1995600" y="1220447"/>
                  </a:lnTo>
                  <a:lnTo>
                    <a:pt x="1995600" y="1331337"/>
                  </a:lnTo>
                  <a:lnTo>
                    <a:pt x="1995600" y="1442226"/>
                  </a:lnTo>
                  <a:lnTo>
                    <a:pt x="1884806" y="1442226"/>
                  </a:lnTo>
                  <a:lnTo>
                    <a:pt x="1884806" y="1553116"/>
                  </a:lnTo>
                  <a:lnTo>
                    <a:pt x="1884806" y="1664005"/>
                  </a:lnTo>
                  <a:lnTo>
                    <a:pt x="1774013" y="1664005"/>
                  </a:lnTo>
                  <a:lnTo>
                    <a:pt x="1774013" y="1774896"/>
                  </a:lnTo>
                  <a:lnTo>
                    <a:pt x="1663220" y="1774896"/>
                  </a:lnTo>
                  <a:lnTo>
                    <a:pt x="1663220" y="1885785"/>
                  </a:lnTo>
                  <a:lnTo>
                    <a:pt x="1552426" y="1885785"/>
                  </a:lnTo>
                  <a:lnTo>
                    <a:pt x="1552426" y="1996675"/>
                  </a:lnTo>
                  <a:lnTo>
                    <a:pt x="1441633" y="1996675"/>
                  </a:lnTo>
                  <a:lnTo>
                    <a:pt x="1330840" y="1996675"/>
                  </a:lnTo>
                  <a:lnTo>
                    <a:pt x="1220046" y="1996675"/>
                  </a:lnTo>
                  <a:lnTo>
                    <a:pt x="1109253" y="1996675"/>
                  </a:lnTo>
                  <a:lnTo>
                    <a:pt x="998459" y="1996675"/>
                  </a:lnTo>
                  <a:lnTo>
                    <a:pt x="887666" y="1996675"/>
                  </a:lnTo>
                  <a:lnTo>
                    <a:pt x="776873" y="1996675"/>
                  </a:lnTo>
                  <a:lnTo>
                    <a:pt x="776873" y="1885785"/>
                  </a:lnTo>
                  <a:lnTo>
                    <a:pt x="887666" y="1885785"/>
                  </a:lnTo>
                  <a:lnTo>
                    <a:pt x="998459" y="1885785"/>
                  </a:lnTo>
                  <a:lnTo>
                    <a:pt x="998459" y="1774896"/>
                  </a:lnTo>
                  <a:lnTo>
                    <a:pt x="998459" y="1664996"/>
                  </a:lnTo>
                  <a:lnTo>
                    <a:pt x="887666" y="1664996"/>
                  </a:lnTo>
                  <a:lnTo>
                    <a:pt x="776873" y="1664996"/>
                  </a:lnTo>
                  <a:lnTo>
                    <a:pt x="776873" y="1554106"/>
                  </a:lnTo>
                  <a:lnTo>
                    <a:pt x="887666" y="1554106"/>
                  </a:lnTo>
                  <a:lnTo>
                    <a:pt x="887666" y="1443216"/>
                  </a:lnTo>
                  <a:lnTo>
                    <a:pt x="776873" y="1443216"/>
                  </a:lnTo>
                  <a:lnTo>
                    <a:pt x="776873" y="1332326"/>
                  </a:lnTo>
                  <a:lnTo>
                    <a:pt x="666079" y="1332326"/>
                  </a:lnTo>
                  <a:lnTo>
                    <a:pt x="666079" y="1221437"/>
                  </a:lnTo>
                  <a:lnTo>
                    <a:pt x="776873" y="1221437"/>
                  </a:lnTo>
                  <a:lnTo>
                    <a:pt x="776873" y="1110547"/>
                  </a:lnTo>
                  <a:lnTo>
                    <a:pt x="666079" y="1110547"/>
                  </a:lnTo>
                  <a:lnTo>
                    <a:pt x="666079" y="999658"/>
                  </a:lnTo>
                  <a:lnTo>
                    <a:pt x="666079" y="888768"/>
                  </a:lnTo>
                  <a:lnTo>
                    <a:pt x="666079" y="777878"/>
                  </a:lnTo>
                  <a:lnTo>
                    <a:pt x="776543" y="777878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2910CEE-BB6E-71AC-391F-4761124E5112}"/>
              </a:ext>
            </a:extLst>
          </p:cNvPr>
          <p:cNvGrpSpPr/>
          <p:nvPr/>
        </p:nvGrpSpPr>
        <p:grpSpPr>
          <a:xfrm>
            <a:off x="994023" y="2124210"/>
            <a:ext cx="670848" cy="671430"/>
            <a:chOff x="-3669270" y="-126010"/>
            <a:chExt cx="2773132" cy="2775542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54070B9-36C9-3F3D-7CF9-2B96879268C0}"/>
                </a:ext>
              </a:extLst>
            </p:cNvPr>
            <p:cNvSpPr/>
            <p:nvPr/>
          </p:nvSpPr>
          <p:spPr>
            <a:xfrm>
              <a:off x="-2449223" y="1095096"/>
              <a:ext cx="998459" cy="999327"/>
            </a:xfrm>
            <a:custGeom>
              <a:avLst/>
              <a:gdLst>
                <a:gd name="connsiteX0" fmla="*/ 887336 w 998459"/>
                <a:gd name="connsiteY0" fmla="*/ 222109 h 999327"/>
                <a:gd name="connsiteX1" fmla="*/ 887336 w 998459"/>
                <a:gd name="connsiteY1" fmla="*/ 111220 h 999327"/>
                <a:gd name="connsiteX2" fmla="*/ 776543 w 998459"/>
                <a:gd name="connsiteY2" fmla="*/ 111220 h 999327"/>
                <a:gd name="connsiteX3" fmla="*/ 776543 w 998459"/>
                <a:gd name="connsiteY3" fmla="*/ 0 h 999327"/>
                <a:gd name="connsiteX4" fmla="*/ 665420 w 998459"/>
                <a:gd name="connsiteY4" fmla="*/ 0 h 999327"/>
                <a:gd name="connsiteX5" fmla="*/ 554626 w 998459"/>
                <a:gd name="connsiteY5" fmla="*/ 0 h 999327"/>
                <a:gd name="connsiteX6" fmla="*/ 443833 w 998459"/>
                <a:gd name="connsiteY6" fmla="*/ 0 h 999327"/>
                <a:gd name="connsiteX7" fmla="*/ 443833 w 998459"/>
                <a:gd name="connsiteY7" fmla="*/ 111220 h 999327"/>
                <a:gd name="connsiteX8" fmla="*/ 332710 w 998459"/>
                <a:gd name="connsiteY8" fmla="*/ 111220 h 999327"/>
                <a:gd name="connsiteX9" fmla="*/ 332710 w 998459"/>
                <a:gd name="connsiteY9" fmla="*/ 0 h 999327"/>
                <a:gd name="connsiteX10" fmla="*/ 221916 w 998459"/>
                <a:gd name="connsiteY10" fmla="*/ 0 h 999327"/>
                <a:gd name="connsiteX11" fmla="*/ 111123 w 998459"/>
                <a:gd name="connsiteY11" fmla="*/ 0 h 999327"/>
                <a:gd name="connsiteX12" fmla="*/ 0 w 998459"/>
                <a:gd name="connsiteY12" fmla="*/ 0 h 999327"/>
                <a:gd name="connsiteX13" fmla="*/ 0 w 998459"/>
                <a:gd name="connsiteY13" fmla="*/ 111220 h 999327"/>
                <a:gd name="connsiteX14" fmla="*/ 0 w 998459"/>
                <a:gd name="connsiteY14" fmla="*/ 222109 h 999327"/>
                <a:gd name="connsiteX15" fmla="*/ 0 w 998459"/>
                <a:gd name="connsiteY15" fmla="*/ 332999 h 999327"/>
                <a:gd name="connsiteX16" fmla="*/ 0 w 998459"/>
                <a:gd name="connsiteY16" fmla="*/ 444219 h 999327"/>
                <a:gd name="connsiteX17" fmla="*/ 0 w 998459"/>
                <a:gd name="connsiteY17" fmla="*/ 555109 h 999327"/>
                <a:gd name="connsiteX18" fmla="*/ 0 w 998459"/>
                <a:gd name="connsiteY18" fmla="*/ 665998 h 999327"/>
                <a:gd name="connsiteX19" fmla="*/ 0 w 998459"/>
                <a:gd name="connsiteY19" fmla="*/ 777218 h 999327"/>
                <a:gd name="connsiteX20" fmla="*/ 0 w 998459"/>
                <a:gd name="connsiteY20" fmla="*/ 888108 h 999327"/>
                <a:gd name="connsiteX21" fmla="*/ 0 w 998459"/>
                <a:gd name="connsiteY21" fmla="*/ 999327 h 999327"/>
                <a:gd name="connsiteX22" fmla="*/ 111123 w 998459"/>
                <a:gd name="connsiteY22" fmla="*/ 999327 h 999327"/>
                <a:gd name="connsiteX23" fmla="*/ 221916 w 998459"/>
                <a:gd name="connsiteY23" fmla="*/ 999327 h 999327"/>
                <a:gd name="connsiteX24" fmla="*/ 332710 w 998459"/>
                <a:gd name="connsiteY24" fmla="*/ 999327 h 999327"/>
                <a:gd name="connsiteX25" fmla="*/ 332710 w 998459"/>
                <a:gd name="connsiteY25" fmla="*/ 888108 h 999327"/>
                <a:gd name="connsiteX26" fmla="*/ 332710 w 998459"/>
                <a:gd name="connsiteY26" fmla="*/ 777218 h 999327"/>
                <a:gd name="connsiteX27" fmla="*/ 332710 w 998459"/>
                <a:gd name="connsiteY27" fmla="*/ 665998 h 999327"/>
                <a:gd name="connsiteX28" fmla="*/ 332710 w 998459"/>
                <a:gd name="connsiteY28" fmla="*/ 555109 h 999327"/>
                <a:gd name="connsiteX29" fmla="*/ 332710 w 998459"/>
                <a:gd name="connsiteY29" fmla="*/ 444219 h 999327"/>
                <a:gd name="connsiteX30" fmla="*/ 332710 w 998459"/>
                <a:gd name="connsiteY30" fmla="*/ 332999 h 999327"/>
                <a:gd name="connsiteX31" fmla="*/ 443833 w 998459"/>
                <a:gd name="connsiteY31" fmla="*/ 332999 h 999327"/>
                <a:gd name="connsiteX32" fmla="*/ 443833 w 998459"/>
                <a:gd name="connsiteY32" fmla="*/ 222109 h 999327"/>
                <a:gd name="connsiteX33" fmla="*/ 554626 w 998459"/>
                <a:gd name="connsiteY33" fmla="*/ 222109 h 999327"/>
                <a:gd name="connsiteX34" fmla="*/ 665420 w 998459"/>
                <a:gd name="connsiteY34" fmla="*/ 222109 h 999327"/>
                <a:gd name="connsiteX35" fmla="*/ 665420 w 998459"/>
                <a:gd name="connsiteY35" fmla="*/ 332999 h 999327"/>
                <a:gd name="connsiteX36" fmla="*/ 776543 w 998459"/>
                <a:gd name="connsiteY36" fmla="*/ 332999 h 999327"/>
                <a:gd name="connsiteX37" fmla="*/ 776543 w 998459"/>
                <a:gd name="connsiteY37" fmla="*/ 444219 h 999327"/>
                <a:gd name="connsiteX38" fmla="*/ 776543 w 998459"/>
                <a:gd name="connsiteY38" fmla="*/ 555109 h 999327"/>
                <a:gd name="connsiteX39" fmla="*/ 776543 w 998459"/>
                <a:gd name="connsiteY39" fmla="*/ 665998 h 999327"/>
                <a:gd name="connsiteX40" fmla="*/ 776543 w 998459"/>
                <a:gd name="connsiteY40" fmla="*/ 777218 h 999327"/>
                <a:gd name="connsiteX41" fmla="*/ 776543 w 998459"/>
                <a:gd name="connsiteY41" fmla="*/ 888108 h 999327"/>
                <a:gd name="connsiteX42" fmla="*/ 776543 w 998459"/>
                <a:gd name="connsiteY42" fmla="*/ 999327 h 999327"/>
                <a:gd name="connsiteX43" fmla="*/ 887336 w 998459"/>
                <a:gd name="connsiteY43" fmla="*/ 999327 h 999327"/>
                <a:gd name="connsiteX44" fmla="*/ 998459 w 998459"/>
                <a:gd name="connsiteY44" fmla="*/ 999327 h 999327"/>
                <a:gd name="connsiteX45" fmla="*/ 998459 w 998459"/>
                <a:gd name="connsiteY45" fmla="*/ 888108 h 999327"/>
                <a:gd name="connsiteX46" fmla="*/ 998459 w 998459"/>
                <a:gd name="connsiteY46" fmla="*/ 777218 h 999327"/>
                <a:gd name="connsiteX47" fmla="*/ 998459 w 998459"/>
                <a:gd name="connsiteY47" fmla="*/ 665998 h 999327"/>
                <a:gd name="connsiteX48" fmla="*/ 998459 w 998459"/>
                <a:gd name="connsiteY48" fmla="*/ 555109 h 999327"/>
                <a:gd name="connsiteX49" fmla="*/ 998459 w 998459"/>
                <a:gd name="connsiteY49" fmla="*/ 444219 h 999327"/>
                <a:gd name="connsiteX50" fmla="*/ 998459 w 998459"/>
                <a:gd name="connsiteY50" fmla="*/ 332999 h 999327"/>
                <a:gd name="connsiteX51" fmla="*/ 998459 w 998459"/>
                <a:gd name="connsiteY51" fmla="*/ 222109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998459" h="999327">
                  <a:moveTo>
                    <a:pt x="887336" y="222109"/>
                  </a:move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0"/>
                  </a:lnTo>
                  <a:lnTo>
                    <a:pt x="665420" y="0"/>
                  </a:lnTo>
                  <a:lnTo>
                    <a:pt x="554626" y="0"/>
                  </a:lnTo>
                  <a:lnTo>
                    <a:pt x="443833" y="0"/>
                  </a:lnTo>
                  <a:lnTo>
                    <a:pt x="443833" y="111220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6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lnTo>
                    <a:pt x="221916" y="999327"/>
                  </a:ln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443833" y="332999"/>
                  </a:lnTo>
                  <a:lnTo>
                    <a:pt x="443833" y="222109"/>
                  </a:lnTo>
                  <a:lnTo>
                    <a:pt x="554626" y="222109"/>
                  </a:lnTo>
                  <a:lnTo>
                    <a:pt x="665420" y="222109"/>
                  </a:lnTo>
                  <a:lnTo>
                    <a:pt x="665420" y="332999"/>
                  </a:lnTo>
                  <a:lnTo>
                    <a:pt x="776543" y="332999"/>
                  </a:lnTo>
                  <a:lnTo>
                    <a:pt x="776543" y="444219"/>
                  </a:lnTo>
                  <a:lnTo>
                    <a:pt x="776543" y="555109"/>
                  </a:lnTo>
                  <a:lnTo>
                    <a:pt x="776543" y="665998"/>
                  </a:lnTo>
                  <a:lnTo>
                    <a:pt x="776543" y="777218"/>
                  </a:lnTo>
                  <a:lnTo>
                    <a:pt x="776543" y="888108"/>
                  </a:lnTo>
                  <a:lnTo>
                    <a:pt x="776543" y="999327"/>
                  </a:lnTo>
                  <a:lnTo>
                    <a:pt x="887336" y="999327"/>
                  </a:lnTo>
                  <a:lnTo>
                    <a:pt x="998459" y="999327"/>
                  </a:lnTo>
                  <a:lnTo>
                    <a:pt x="998459" y="888108"/>
                  </a:lnTo>
                  <a:lnTo>
                    <a:pt x="998459" y="777218"/>
                  </a:lnTo>
                  <a:lnTo>
                    <a:pt x="998459" y="665998"/>
                  </a:lnTo>
                  <a:lnTo>
                    <a:pt x="998459" y="555109"/>
                  </a:lnTo>
                  <a:lnTo>
                    <a:pt x="998459" y="444219"/>
                  </a:lnTo>
                  <a:lnTo>
                    <a:pt x="998459" y="332999"/>
                  </a:lnTo>
                  <a:lnTo>
                    <a:pt x="998459" y="22210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39F42EC-620D-3F73-73AE-1689FC6F7146}"/>
                </a:ext>
              </a:extLst>
            </p:cNvPr>
            <p:cNvSpPr/>
            <p:nvPr/>
          </p:nvSpPr>
          <p:spPr>
            <a:xfrm>
              <a:off x="-3003850" y="1095096"/>
              <a:ext cx="332709" cy="999327"/>
            </a:xfrm>
            <a:custGeom>
              <a:avLst/>
              <a:gdLst>
                <a:gd name="connsiteX0" fmla="*/ 221917 w 332709"/>
                <a:gd name="connsiteY0" fmla="*/ 999327 h 999327"/>
                <a:gd name="connsiteX1" fmla="*/ 332710 w 332709"/>
                <a:gd name="connsiteY1" fmla="*/ 999327 h 999327"/>
                <a:gd name="connsiteX2" fmla="*/ 332710 w 332709"/>
                <a:gd name="connsiteY2" fmla="*/ 888108 h 999327"/>
                <a:gd name="connsiteX3" fmla="*/ 332710 w 332709"/>
                <a:gd name="connsiteY3" fmla="*/ 777218 h 999327"/>
                <a:gd name="connsiteX4" fmla="*/ 332710 w 332709"/>
                <a:gd name="connsiteY4" fmla="*/ 665998 h 999327"/>
                <a:gd name="connsiteX5" fmla="*/ 332710 w 332709"/>
                <a:gd name="connsiteY5" fmla="*/ 555109 h 999327"/>
                <a:gd name="connsiteX6" fmla="*/ 332710 w 332709"/>
                <a:gd name="connsiteY6" fmla="*/ 444219 h 999327"/>
                <a:gd name="connsiteX7" fmla="*/ 332710 w 332709"/>
                <a:gd name="connsiteY7" fmla="*/ 332999 h 999327"/>
                <a:gd name="connsiteX8" fmla="*/ 332710 w 332709"/>
                <a:gd name="connsiteY8" fmla="*/ 222109 h 999327"/>
                <a:gd name="connsiteX9" fmla="*/ 332710 w 332709"/>
                <a:gd name="connsiteY9" fmla="*/ 111220 h 999327"/>
                <a:gd name="connsiteX10" fmla="*/ 332710 w 332709"/>
                <a:gd name="connsiteY10" fmla="*/ 0 h 999327"/>
                <a:gd name="connsiteX11" fmla="*/ 221917 w 332709"/>
                <a:gd name="connsiteY11" fmla="*/ 0 h 999327"/>
                <a:gd name="connsiteX12" fmla="*/ 111123 w 332709"/>
                <a:gd name="connsiteY12" fmla="*/ 0 h 999327"/>
                <a:gd name="connsiteX13" fmla="*/ 0 w 332709"/>
                <a:gd name="connsiteY13" fmla="*/ 0 h 999327"/>
                <a:gd name="connsiteX14" fmla="*/ 0 w 332709"/>
                <a:gd name="connsiteY14" fmla="*/ 111220 h 999327"/>
                <a:gd name="connsiteX15" fmla="*/ 0 w 332709"/>
                <a:gd name="connsiteY15" fmla="*/ 222109 h 999327"/>
                <a:gd name="connsiteX16" fmla="*/ 0 w 332709"/>
                <a:gd name="connsiteY16" fmla="*/ 332999 h 999327"/>
                <a:gd name="connsiteX17" fmla="*/ 0 w 332709"/>
                <a:gd name="connsiteY17" fmla="*/ 444219 h 999327"/>
                <a:gd name="connsiteX18" fmla="*/ 0 w 332709"/>
                <a:gd name="connsiteY18" fmla="*/ 555109 h 999327"/>
                <a:gd name="connsiteX19" fmla="*/ 0 w 332709"/>
                <a:gd name="connsiteY19" fmla="*/ 665998 h 999327"/>
                <a:gd name="connsiteX20" fmla="*/ 0 w 332709"/>
                <a:gd name="connsiteY20" fmla="*/ 777218 h 999327"/>
                <a:gd name="connsiteX21" fmla="*/ 0 w 332709"/>
                <a:gd name="connsiteY21" fmla="*/ 888108 h 999327"/>
                <a:gd name="connsiteX22" fmla="*/ 0 w 332709"/>
                <a:gd name="connsiteY22" fmla="*/ 999327 h 999327"/>
                <a:gd name="connsiteX23" fmla="*/ 111123 w 332709"/>
                <a:gd name="connsiteY23" fmla="*/ 999327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32709" h="999327">
                  <a:moveTo>
                    <a:pt x="221917" y="999327"/>
                  </a:move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1C8C9F2-F26C-1C64-B5B8-E2A195999BFE}"/>
                </a:ext>
              </a:extLst>
            </p:cNvPr>
            <p:cNvSpPr/>
            <p:nvPr/>
          </p:nvSpPr>
          <p:spPr>
            <a:xfrm>
              <a:off x="-3003850" y="539988"/>
              <a:ext cx="332709" cy="332999"/>
            </a:xfrm>
            <a:custGeom>
              <a:avLst/>
              <a:gdLst>
                <a:gd name="connsiteX0" fmla="*/ 221917 w 332709"/>
                <a:gd name="connsiteY0" fmla="*/ 332999 h 332999"/>
                <a:gd name="connsiteX1" fmla="*/ 332710 w 332709"/>
                <a:gd name="connsiteY1" fmla="*/ 332999 h 332999"/>
                <a:gd name="connsiteX2" fmla="*/ 332710 w 332709"/>
                <a:gd name="connsiteY2" fmla="*/ 222109 h 332999"/>
                <a:gd name="connsiteX3" fmla="*/ 332710 w 332709"/>
                <a:gd name="connsiteY3" fmla="*/ 111220 h 332999"/>
                <a:gd name="connsiteX4" fmla="*/ 332710 w 332709"/>
                <a:gd name="connsiteY4" fmla="*/ 0 h 332999"/>
                <a:gd name="connsiteX5" fmla="*/ 221917 w 332709"/>
                <a:gd name="connsiteY5" fmla="*/ 0 h 332999"/>
                <a:gd name="connsiteX6" fmla="*/ 111123 w 332709"/>
                <a:gd name="connsiteY6" fmla="*/ 0 h 332999"/>
                <a:gd name="connsiteX7" fmla="*/ 0 w 332709"/>
                <a:gd name="connsiteY7" fmla="*/ 0 h 332999"/>
                <a:gd name="connsiteX8" fmla="*/ 0 w 332709"/>
                <a:gd name="connsiteY8" fmla="*/ 111220 h 332999"/>
                <a:gd name="connsiteX9" fmla="*/ 0 w 332709"/>
                <a:gd name="connsiteY9" fmla="*/ 222109 h 332999"/>
                <a:gd name="connsiteX10" fmla="*/ 0 w 332709"/>
                <a:gd name="connsiteY10" fmla="*/ 332999 h 332999"/>
                <a:gd name="connsiteX11" fmla="*/ 111123 w 332709"/>
                <a:gd name="connsiteY11" fmla="*/ 332999 h 33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2709" h="332999">
                  <a:moveTo>
                    <a:pt x="221917" y="332999"/>
                  </a:move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111123" y="33299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2E64266-4D00-D16F-C3F2-C347228CC89C}"/>
                </a:ext>
              </a:extLst>
            </p:cNvPr>
            <p:cNvSpPr/>
            <p:nvPr/>
          </p:nvSpPr>
          <p:spPr>
            <a:xfrm>
              <a:off x="-3669270" y="-126010"/>
              <a:ext cx="2773132" cy="2775542"/>
            </a:xfrm>
            <a:custGeom>
              <a:avLst/>
              <a:gdLst>
                <a:gd name="connsiteX0" fmla="*/ 2662009 w 2773132"/>
                <a:gd name="connsiteY0" fmla="*/ 332999 h 2775542"/>
                <a:gd name="connsiteX1" fmla="*/ 2662009 w 2773132"/>
                <a:gd name="connsiteY1" fmla="*/ 222109 h 2775542"/>
                <a:gd name="connsiteX2" fmla="*/ 2551216 w 2773132"/>
                <a:gd name="connsiteY2" fmla="*/ 222109 h 2775542"/>
                <a:gd name="connsiteX3" fmla="*/ 2551216 w 2773132"/>
                <a:gd name="connsiteY3" fmla="*/ 110890 h 2775542"/>
                <a:gd name="connsiteX4" fmla="*/ 2440092 w 2773132"/>
                <a:gd name="connsiteY4" fmla="*/ 110890 h 2775542"/>
                <a:gd name="connsiteX5" fmla="*/ 2440092 w 2773132"/>
                <a:gd name="connsiteY5" fmla="*/ 0 h 2775542"/>
                <a:gd name="connsiteX6" fmla="*/ 2329299 w 2773132"/>
                <a:gd name="connsiteY6" fmla="*/ 0 h 2775542"/>
                <a:gd name="connsiteX7" fmla="*/ 2218506 w 2773132"/>
                <a:gd name="connsiteY7" fmla="*/ 0 h 2775542"/>
                <a:gd name="connsiteX8" fmla="*/ 2107712 w 2773132"/>
                <a:gd name="connsiteY8" fmla="*/ 0 h 2775542"/>
                <a:gd name="connsiteX9" fmla="*/ 1996919 w 2773132"/>
                <a:gd name="connsiteY9" fmla="*/ 0 h 2775542"/>
                <a:gd name="connsiteX10" fmla="*/ 1886126 w 2773132"/>
                <a:gd name="connsiteY10" fmla="*/ 0 h 2775542"/>
                <a:gd name="connsiteX11" fmla="*/ 1775332 w 2773132"/>
                <a:gd name="connsiteY11" fmla="*/ 0 h 2775542"/>
                <a:gd name="connsiteX12" fmla="*/ 1664539 w 2773132"/>
                <a:gd name="connsiteY12" fmla="*/ 0 h 2775542"/>
                <a:gd name="connsiteX13" fmla="*/ 1553745 w 2773132"/>
                <a:gd name="connsiteY13" fmla="*/ 0 h 2775542"/>
                <a:gd name="connsiteX14" fmla="*/ 1442952 w 2773132"/>
                <a:gd name="connsiteY14" fmla="*/ 0 h 2775542"/>
                <a:gd name="connsiteX15" fmla="*/ 1332159 w 2773132"/>
                <a:gd name="connsiteY15" fmla="*/ 0 h 2775542"/>
                <a:gd name="connsiteX16" fmla="*/ 1220046 w 2773132"/>
                <a:gd name="connsiteY16" fmla="*/ 0 h 2775542"/>
                <a:gd name="connsiteX17" fmla="*/ 1109253 w 2773132"/>
                <a:gd name="connsiteY17" fmla="*/ 0 h 2775542"/>
                <a:gd name="connsiteX18" fmla="*/ 998459 w 2773132"/>
                <a:gd name="connsiteY18" fmla="*/ 0 h 2775542"/>
                <a:gd name="connsiteX19" fmla="*/ 887666 w 2773132"/>
                <a:gd name="connsiteY19" fmla="*/ 0 h 2775542"/>
                <a:gd name="connsiteX20" fmla="*/ 776873 w 2773132"/>
                <a:gd name="connsiteY20" fmla="*/ 0 h 2775542"/>
                <a:gd name="connsiteX21" fmla="*/ 666079 w 2773132"/>
                <a:gd name="connsiteY21" fmla="*/ 0 h 2775542"/>
                <a:gd name="connsiteX22" fmla="*/ 555286 w 2773132"/>
                <a:gd name="connsiteY22" fmla="*/ 0 h 2775542"/>
                <a:gd name="connsiteX23" fmla="*/ 444493 w 2773132"/>
                <a:gd name="connsiteY23" fmla="*/ 0 h 2775542"/>
                <a:gd name="connsiteX24" fmla="*/ 333699 w 2773132"/>
                <a:gd name="connsiteY24" fmla="*/ 0 h 2775542"/>
                <a:gd name="connsiteX25" fmla="*/ 333699 w 2773132"/>
                <a:gd name="connsiteY25" fmla="*/ 110890 h 2775542"/>
                <a:gd name="connsiteX26" fmla="*/ 221917 w 2773132"/>
                <a:gd name="connsiteY26" fmla="*/ 110890 h 2775542"/>
                <a:gd name="connsiteX27" fmla="*/ 221917 w 2773132"/>
                <a:gd name="connsiteY27" fmla="*/ 221779 h 2775542"/>
                <a:gd name="connsiteX28" fmla="*/ 110793 w 2773132"/>
                <a:gd name="connsiteY28" fmla="*/ 221779 h 2775542"/>
                <a:gd name="connsiteX29" fmla="*/ 110793 w 2773132"/>
                <a:gd name="connsiteY29" fmla="*/ 332669 h 2775542"/>
                <a:gd name="connsiteX30" fmla="*/ 0 w 2773132"/>
                <a:gd name="connsiteY30" fmla="*/ 332669 h 2775542"/>
                <a:gd name="connsiteX31" fmla="*/ 0 w 2773132"/>
                <a:gd name="connsiteY31" fmla="*/ 443559 h 2775542"/>
                <a:gd name="connsiteX32" fmla="*/ 0 w 2773132"/>
                <a:gd name="connsiteY32" fmla="*/ 554449 h 2775542"/>
                <a:gd name="connsiteX33" fmla="*/ 0 w 2773132"/>
                <a:gd name="connsiteY33" fmla="*/ 665338 h 2775542"/>
                <a:gd name="connsiteX34" fmla="*/ 0 w 2773132"/>
                <a:gd name="connsiteY34" fmla="*/ 776228 h 2775542"/>
                <a:gd name="connsiteX35" fmla="*/ 0 w 2773132"/>
                <a:gd name="connsiteY35" fmla="*/ 887118 h 2775542"/>
                <a:gd name="connsiteX36" fmla="*/ 0 w 2773132"/>
                <a:gd name="connsiteY36" fmla="*/ 998007 h 2775542"/>
                <a:gd name="connsiteX37" fmla="*/ 0 w 2773132"/>
                <a:gd name="connsiteY37" fmla="*/ 1108897 h 2775542"/>
                <a:gd name="connsiteX38" fmla="*/ 0 w 2773132"/>
                <a:gd name="connsiteY38" fmla="*/ 1221107 h 2775542"/>
                <a:gd name="connsiteX39" fmla="*/ 0 w 2773132"/>
                <a:gd name="connsiteY39" fmla="*/ 1331997 h 2775542"/>
                <a:gd name="connsiteX40" fmla="*/ 0 w 2773132"/>
                <a:gd name="connsiteY40" fmla="*/ 1442886 h 2775542"/>
                <a:gd name="connsiteX41" fmla="*/ 0 w 2773132"/>
                <a:gd name="connsiteY41" fmla="*/ 1553776 h 2775542"/>
                <a:gd name="connsiteX42" fmla="*/ 0 w 2773132"/>
                <a:gd name="connsiteY42" fmla="*/ 1664666 h 2775542"/>
                <a:gd name="connsiteX43" fmla="*/ 0 w 2773132"/>
                <a:gd name="connsiteY43" fmla="*/ 1775555 h 2775542"/>
                <a:gd name="connsiteX44" fmla="*/ 0 w 2773132"/>
                <a:gd name="connsiteY44" fmla="*/ 1886445 h 2775542"/>
                <a:gd name="connsiteX45" fmla="*/ 0 w 2773132"/>
                <a:gd name="connsiteY45" fmla="*/ 1997335 h 2775542"/>
                <a:gd name="connsiteX46" fmla="*/ 0 w 2773132"/>
                <a:gd name="connsiteY46" fmla="*/ 2108225 h 2775542"/>
                <a:gd name="connsiteX47" fmla="*/ 0 w 2773132"/>
                <a:gd name="connsiteY47" fmla="*/ 2219114 h 2775542"/>
                <a:gd name="connsiteX48" fmla="*/ 0 w 2773132"/>
                <a:gd name="connsiteY48" fmla="*/ 2330004 h 2775542"/>
                <a:gd name="connsiteX49" fmla="*/ 0 w 2773132"/>
                <a:gd name="connsiteY49" fmla="*/ 2442214 h 2775542"/>
                <a:gd name="connsiteX50" fmla="*/ 110793 w 2773132"/>
                <a:gd name="connsiteY50" fmla="*/ 2442214 h 2775542"/>
                <a:gd name="connsiteX51" fmla="*/ 110793 w 2773132"/>
                <a:gd name="connsiteY51" fmla="*/ 2553103 h 2775542"/>
                <a:gd name="connsiteX52" fmla="*/ 221587 w 2773132"/>
                <a:gd name="connsiteY52" fmla="*/ 2553103 h 2775542"/>
                <a:gd name="connsiteX53" fmla="*/ 221587 w 2773132"/>
                <a:gd name="connsiteY53" fmla="*/ 2663993 h 2775542"/>
                <a:gd name="connsiteX54" fmla="*/ 332380 w 2773132"/>
                <a:gd name="connsiteY54" fmla="*/ 2663993 h 2775542"/>
                <a:gd name="connsiteX55" fmla="*/ 332380 w 2773132"/>
                <a:gd name="connsiteY55" fmla="*/ 2775543 h 2775542"/>
                <a:gd name="connsiteX56" fmla="*/ 443174 w 2773132"/>
                <a:gd name="connsiteY56" fmla="*/ 2775543 h 2775542"/>
                <a:gd name="connsiteX57" fmla="*/ 553967 w 2773132"/>
                <a:gd name="connsiteY57" fmla="*/ 2775543 h 2775542"/>
                <a:gd name="connsiteX58" fmla="*/ 664760 w 2773132"/>
                <a:gd name="connsiteY58" fmla="*/ 2775543 h 2775542"/>
                <a:gd name="connsiteX59" fmla="*/ 775554 w 2773132"/>
                <a:gd name="connsiteY59" fmla="*/ 2775543 h 2775542"/>
                <a:gd name="connsiteX60" fmla="*/ 886347 w 2773132"/>
                <a:gd name="connsiteY60" fmla="*/ 2775543 h 2775542"/>
                <a:gd name="connsiteX61" fmla="*/ 997140 w 2773132"/>
                <a:gd name="connsiteY61" fmla="*/ 2775543 h 2775542"/>
                <a:gd name="connsiteX62" fmla="*/ 1107934 w 2773132"/>
                <a:gd name="connsiteY62" fmla="*/ 2775543 h 2775542"/>
                <a:gd name="connsiteX63" fmla="*/ 1220046 w 2773132"/>
                <a:gd name="connsiteY63" fmla="*/ 2775543 h 2775542"/>
                <a:gd name="connsiteX64" fmla="*/ 1330840 w 2773132"/>
                <a:gd name="connsiteY64" fmla="*/ 2775543 h 2775542"/>
                <a:gd name="connsiteX65" fmla="*/ 1441633 w 2773132"/>
                <a:gd name="connsiteY65" fmla="*/ 2775543 h 2775542"/>
                <a:gd name="connsiteX66" fmla="*/ 1552426 w 2773132"/>
                <a:gd name="connsiteY66" fmla="*/ 2775543 h 2775542"/>
                <a:gd name="connsiteX67" fmla="*/ 1663220 w 2773132"/>
                <a:gd name="connsiteY67" fmla="*/ 2775543 h 2775542"/>
                <a:gd name="connsiteX68" fmla="*/ 1774013 w 2773132"/>
                <a:gd name="connsiteY68" fmla="*/ 2775543 h 2775542"/>
                <a:gd name="connsiteX69" fmla="*/ 1884806 w 2773132"/>
                <a:gd name="connsiteY69" fmla="*/ 2775543 h 2775542"/>
                <a:gd name="connsiteX70" fmla="*/ 1995600 w 2773132"/>
                <a:gd name="connsiteY70" fmla="*/ 2775543 h 2775542"/>
                <a:gd name="connsiteX71" fmla="*/ 2106393 w 2773132"/>
                <a:gd name="connsiteY71" fmla="*/ 2775543 h 2775542"/>
                <a:gd name="connsiteX72" fmla="*/ 2217187 w 2773132"/>
                <a:gd name="connsiteY72" fmla="*/ 2775543 h 2775542"/>
                <a:gd name="connsiteX73" fmla="*/ 2327980 w 2773132"/>
                <a:gd name="connsiteY73" fmla="*/ 2775543 h 2775542"/>
                <a:gd name="connsiteX74" fmla="*/ 2440092 w 2773132"/>
                <a:gd name="connsiteY74" fmla="*/ 2775543 h 2775542"/>
                <a:gd name="connsiteX75" fmla="*/ 2440092 w 2773132"/>
                <a:gd name="connsiteY75" fmla="*/ 2664653 h 2775542"/>
                <a:gd name="connsiteX76" fmla="*/ 2550886 w 2773132"/>
                <a:gd name="connsiteY76" fmla="*/ 2664653 h 2775542"/>
                <a:gd name="connsiteX77" fmla="*/ 2550886 w 2773132"/>
                <a:gd name="connsiteY77" fmla="*/ 2553764 h 2775542"/>
                <a:gd name="connsiteX78" fmla="*/ 2661679 w 2773132"/>
                <a:gd name="connsiteY78" fmla="*/ 2553764 h 2775542"/>
                <a:gd name="connsiteX79" fmla="*/ 2661679 w 2773132"/>
                <a:gd name="connsiteY79" fmla="*/ 2442214 h 2775542"/>
                <a:gd name="connsiteX80" fmla="*/ 2773132 w 2773132"/>
                <a:gd name="connsiteY80" fmla="*/ 2442214 h 2775542"/>
                <a:gd name="connsiteX81" fmla="*/ 2773132 w 2773132"/>
                <a:gd name="connsiteY81" fmla="*/ 2331324 h 2775542"/>
                <a:gd name="connsiteX82" fmla="*/ 2773132 w 2773132"/>
                <a:gd name="connsiteY82" fmla="*/ 2220434 h 2775542"/>
                <a:gd name="connsiteX83" fmla="*/ 2773132 w 2773132"/>
                <a:gd name="connsiteY83" fmla="*/ 2109545 h 2775542"/>
                <a:gd name="connsiteX84" fmla="*/ 2773132 w 2773132"/>
                <a:gd name="connsiteY84" fmla="*/ 1998655 h 2775542"/>
                <a:gd name="connsiteX85" fmla="*/ 2773132 w 2773132"/>
                <a:gd name="connsiteY85" fmla="*/ 1887765 h 2775542"/>
                <a:gd name="connsiteX86" fmla="*/ 2773132 w 2773132"/>
                <a:gd name="connsiteY86" fmla="*/ 1776876 h 2775542"/>
                <a:gd name="connsiteX87" fmla="*/ 2773132 w 2773132"/>
                <a:gd name="connsiteY87" fmla="*/ 1665986 h 2775542"/>
                <a:gd name="connsiteX88" fmla="*/ 2773132 w 2773132"/>
                <a:gd name="connsiteY88" fmla="*/ 1555096 h 2775542"/>
                <a:gd name="connsiteX89" fmla="*/ 2773132 w 2773132"/>
                <a:gd name="connsiteY89" fmla="*/ 1444206 h 2775542"/>
                <a:gd name="connsiteX90" fmla="*/ 2773132 w 2773132"/>
                <a:gd name="connsiteY90" fmla="*/ 1333317 h 2775542"/>
                <a:gd name="connsiteX91" fmla="*/ 2773132 w 2773132"/>
                <a:gd name="connsiteY91" fmla="*/ 1221107 h 2775542"/>
                <a:gd name="connsiteX92" fmla="*/ 2773132 w 2773132"/>
                <a:gd name="connsiteY92" fmla="*/ 1110217 h 2775542"/>
                <a:gd name="connsiteX93" fmla="*/ 2773132 w 2773132"/>
                <a:gd name="connsiteY93" fmla="*/ 999327 h 2775542"/>
                <a:gd name="connsiteX94" fmla="*/ 2773132 w 2773132"/>
                <a:gd name="connsiteY94" fmla="*/ 888438 h 2775542"/>
                <a:gd name="connsiteX95" fmla="*/ 2773132 w 2773132"/>
                <a:gd name="connsiteY95" fmla="*/ 777548 h 2775542"/>
                <a:gd name="connsiteX96" fmla="*/ 2773132 w 2773132"/>
                <a:gd name="connsiteY96" fmla="*/ 666658 h 2775542"/>
                <a:gd name="connsiteX97" fmla="*/ 2773132 w 2773132"/>
                <a:gd name="connsiteY97" fmla="*/ 555769 h 2775542"/>
                <a:gd name="connsiteX98" fmla="*/ 2773132 w 2773132"/>
                <a:gd name="connsiteY98" fmla="*/ 444879 h 2775542"/>
                <a:gd name="connsiteX99" fmla="*/ 2773132 w 2773132"/>
                <a:gd name="connsiteY99" fmla="*/ 333989 h 2775542"/>
                <a:gd name="connsiteX100" fmla="*/ 2662009 w 2773132"/>
                <a:gd name="connsiteY100" fmla="*/ 333989 h 2775542"/>
                <a:gd name="connsiteX101" fmla="*/ 2218506 w 2773132"/>
                <a:gd name="connsiteY101" fmla="*/ 2220434 h 2775542"/>
                <a:gd name="connsiteX102" fmla="*/ 2107712 w 2773132"/>
                <a:gd name="connsiteY102" fmla="*/ 2220434 h 2775542"/>
                <a:gd name="connsiteX103" fmla="*/ 1996919 w 2773132"/>
                <a:gd name="connsiteY103" fmla="*/ 2220434 h 2775542"/>
                <a:gd name="connsiteX104" fmla="*/ 1996919 w 2773132"/>
                <a:gd name="connsiteY104" fmla="*/ 2109545 h 2775542"/>
                <a:gd name="connsiteX105" fmla="*/ 1996919 w 2773132"/>
                <a:gd name="connsiteY105" fmla="*/ 1998655 h 2775542"/>
                <a:gd name="connsiteX106" fmla="*/ 1996919 w 2773132"/>
                <a:gd name="connsiteY106" fmla="*/ 1887765 h 2775542"/>
                <a:gd name="connsiteX107" fmla="*/ 1996919 w 2773132"/>
                <a:gd name="connsiteY107" fmla="*/ 1776876 h 2775542"/>
                <a:gd name="connsiteX108" fmla="*/ 1996919 w 2773132"/>
                <a:gd name="connsiteY108" fmla="*/ 1665986 h 2775542"/>
                <a:gd name="connsiteX109" fmla="*/ 1996919 w 2773132"/>
                <a:gd name="connsiteY109" fmla="*/ 1555096 h 2775542"/>
                <a:gd name="connsiteX110" fmla="*/ 1886126 w 2773132"/>
                <a:gd name="connsiteY110" fmla="*/ 1555096 h 2775542"/>
                <a:gd name="connsiteX111" fmla="*/ 1886126 w 2773132"/>
                <a:gd name="connsiteY111" fmla="*/ 1444206 h 2775542"/>
                <a:gd name="connsiteX112" fmla="*/ 1775332 w 2773132"/>
                <a:gd name="connsiteY112" fmla="*/ 1444206 h 2775542"/>
                <a:gd name="connsiteX113" fmla="*/ 1664539 w 2773132"/>
                <a:gd name="connsiteY113" fmla="*/ 1444206 h 2775542"/>
                <a:gd name="connsiteX114" fmla="*/ 1664539 w 2773132"/>
                <a:gd name="connsiteY114" fmla="*/ 1555096 h 2775542"/>
                <a:gd name="connsiteX115" fmla="*/ 1553745 w 2773132"/>
                <a:gd name="connsiteY115" fmla="*/ 1555096 h 2775542"/>
                <a:gd name="connsiteX116" fmla="*/ 1553745 w 2773132"/>
                <a:gd name="connsiteY116" fmla="*/ 1665986 h 2775542"/>
                <a:gd name="connsiteX117" fmla="*/ 1553745 w 2773132"/>
                <a:gd name="connsiteY117" fmla="*/ 1776876 h 2775542"/>
                <a:gd name="connsiteX118" fmla="*/ 1553745 w 2773132"/>
                <a:gd name="connsiteY118" fmla="*/ 1887765 h 2775542"/>
                <a:gd name="connsiteX119" fmla="*/ 1553745 w 2773132"/>
                <a:gd name="connsiteY119" fmla="*/ 1998655 h 2775542"/>
                <a:gd name="connsiteX120" fmla="*/ 1553745 w 2773132"/>
                <a:gd name="connsiteY120" fmla="*/ 2109545 h 2775542"/>
                <a:gd name="connsiteX121" fmla="*/ 1553745 w 2773132"/>
                <a:gd name="connsiteY121" fmla="*/ 2220434 h 2775542"/>
                <a:gd name="connsiteX122" fmla="*/ 1442952 w 2773132"/>
                <a:gd name="connsiteY122" fmla="*/ 2220434 h 2775542"/>
                <a:gd name="connsiteX123" fmla="*/ 1332159 w 2773132"/>
                <a:gd name="connsiteY123" fmla="*/ 2220434 h 2775542"/>
                <a:gd name="connsiteX124" fmla="*/ 1220046 w 2773132"/>
                <a:gd name="connsiteY124" fmla="*/ 2220434 h 2775542"/>
                <a:gd name="connsiteX125" fmla="*/ 1220046 w 2773132"/>
                <a:gd name="connsiteY125" fmla="*/ 2109545 h 2775542"/>
                <a:gd name="connsiteX126" fmla="*/ 1220046 w 2773132"/>
                <a:gd name="connsiteY126" fmla="*/ 1998655 h 2775542"/>
                <a:gd name="connsiteX127" fmla="*/ 1220046 w 2773132"/>
                <a:gd name="connsiteY127" fmla="*/ 1887765 h 2775542"/>
                <a:gd name="connsiteX128" fmla="*/ 1220046 w 2773132"/>
                <a:gd name="connsiteY128" fmla="*/ 1776876 h 2775542"/>
                <a:gd name="connsiteX129" fmla="*/ 1220046 w 2773132"/>
                <a:gd name="connsiteY129" fmla="*/ 1665986 h 2775542"/>
                <a:gd name="connsiteX130" fmla="*/ 1220046 w 2773132"/>
                <a:gd name="connsiteY130" fmla="*/ 1555096 h 2775542"/>
                <a:gd name="connsiteX131" fmla="*/ 1220046 w 2773132"/>
                <a:gd name="connsiteY131" fmla="*/ 1444206 h 2775542"/>
                <a:gd name="connsiteX132" fmla="*/ 1220046 w 2773132"/>
                <a:gd name="connsiteY132" fmla="*/ 1333317 h 2775542"/>
                <a:gd name="connsiteX133" fmla="*/ 1220046 w 2773132"/>
                <a:gd name="connsiteY133" fmla="*/ 1221107 h 2775542"/>
                <a:gd name="connsiteX134" fmla="*/ 1330840 w 2773132"/>
                <a:gd name="connsiteY134" fmla="*/ 1221107 h 2775542"/>
                <a:gd name="connsiteX135" fmla="*/ 1441633 w 2773132"/>
                <a:gd name="connsiteY135" fmla="*/ 1221107 h 2775542"/>
                <a:gd name="connsiteX136" fmla="*/ 1552426 w 2773132"/>
                <a:gd name="connsiteY136" fmla="*/ 1221107 h 2775542"/>
                <a:gd name="connsiteX137" fmla="*/ 1552426 w 2773132"/>
                <a:gd name="connsiteY137" fmla="*/ 1331997 h 2775542"/>
                <a:gd name="connsiteX138" fmla="*/ 1663220 w 2773132"/>
                <a:gd name="connsiteY138" fmla="*/ 1331997 h 2775542"/>
                <a:gd name="connsiteX139" fmla="*/ 1663220 w 2773132"/>
                <a:gd name="connsiteY139" fmla="*/ 1221107 h 2775542"/>
                <a:gd name="connsiteX140" fmla="*/ 1774013 w 2773132"/>
                <a:gd name="connsiteY140" fmla="*/ 1221107 h 2775542"/>
                <a:gd name="connsiteX141" fmla="*/ 1884806 w 2773132"/>
                <a:gd name="connsiteY141" fmla="*/ 1221107 h 2775542"/>
                <a:gd name="connsiteX142" fmla="*/ 1995600 w 2773132"/>
                <a:gd name="connsiteY142" fmla="*/ 1221107 h 2775542"/>
                <a:gd name="connsiteX143" fmla="*/ 1995600 w 2773132"/>
                <a:gd name="connsiteY143" fmla="*/ 1331997 h 2775542"/>
                <a:gd name="connsiteX144" fmla="*/ 2106393 w 2773132"/>
                <a:gd name="connsiteY144" fmla="*/ 1331997 h 2775542"/>
                <a:gd name="connsiteX145" fmla="*/ 2106393 w 2773132"/>
                <a:gd name="connsiteY145" fmla="*/ 1442886 h 2775542"/>
                <a:gd name="connsiteX146" fmla="*/ 2217187 w 2773132"/>
                <a:gd name="connsiteY146" fmla="*/ 1442886 h 2775542"/>
                <a:gd name="connsiteX147" fmla="*/ 2217187 w 2773132"/>
                <a:gd name="connsiteY147" fmla="*/ 1553776 h 2775542"/>
                <a:gd name="connsiteX148" fmla="*/ 2217187 w 2773132"/>
                <a:gd name="connsiteY148" fmla="*/ 1664666 h 2775542"/>
                <a:gd name="connsiteX149" fmla="*/ 2217187 w 2773132"/>
                <a:gd name="connsiteY149" fmla="*/ 1775555 h 2775542"/>
                <a:gd name="connsiteX150" fmla="*/ 2217187 w 2773132"/>
                <a:gd name="connsiteY150" fmla="*/ 1886445 h 2775542"/>
                <a:gd name="connsiteX151" fmla="*/ 2217187 w 2773132"/>
                <a:gd name="connsiteY151" fmla="*/ 1997335 h 2775542"/>
                <a:gd name="connsiteX152" fmla="*/ 2217187 w 2773132"/>
                <a:gd name="connsiteY152" fmla="*/ 2108225 h 2775542"/>
                <a:gd name="connsiteX153" fmla="*/ 2217187 w 2773132"/>
                <a:gd name="connsiteY153" fmla="*/ 2220434 h 2775542"/>
                <a:gd name="connsiteX154" fmla="*/ 665420 w 2773132"/>
                <a:gd name="connsiteY154" fmla="*/ 665998 h 2775542"/>
                <a:gd name="connsiteX155" fmla="*/ 776213 w 2773132"/>
                <a:gd name="connsiteY155" fmla="*/ 665998 h 2775542"/>
                <a:gd name="connsiteX156" fmla="*/ 887007 w 2773132"/>
                <a:gd name="connsiteY156" fmla="*/ 665998 h 2775542"/>
                <a:gd name="connsiteX157" fmla="*/ 997800 w 2773132"/>
                <a:gd name="connsiteY157" fmla="*/ 665998 h 2775542"/>
                <a:gd name="connsiteX158" fmla="*/ 997800 w 2773132"/>
                <a:gd name="connsiteY158" fmla="*/ 776888 h 2775542"/>
                <a:gd name="connsiteX159" fmla="*/ 997800 w 2773132"/>
                <a:gd name="connsiteY159" fmla="*/ 887778 h 2775542"/>
                <a:gd name="connsiteX160" fmla="*/ 997800 w 2773132"/>
                <a:gd name="connsiteY160" fmla="*/ 998667 h 2775542"/>
                <a:gd name="connsiteX161" fmla="*/ 887007 w 2773132"/>
                <a:gd name="connsiteY161" fmla="*/ 998667 h 2775542"/>
                <a:gd name="connsiteX162" fmla="*/ 776213 w 2773132"/>
                <a:gd name="connsiteY162" fmla="*/ 998667 h 2775542"/>
                <a:gd name="connsiteX163" fmla="*/ 665420 w 2773132"/>
                <a:gd name="connsiteY163" fmla="*/ 998667 h 2775542"/>
                <a:gd name="connsiteX164" fmla="*/ 665420 w 2773132"/>
                <a:gd name="connsiteY164" fmla="*/ 887778 h 2775542"/>
                <a:gd name="connsiteX165" fmla="*/ 665420 w 2773132"/>
                <a:gd name="connsiteY165" fmla="*/ 776888 h 2775542"/>
                <a:gd name="connsiteX166" fmla="*/ 665420 w 2773132"/>
                <a:gd name="connsiteY166" fmla="*/ 665998 h 2775542"/>
                <a:gd name="connsiteX167" fmla="*/ 665420 w 2773132"/>
                <a:gd name="connsiteY167" fmla="*/ 2109215 h 2775542"/>
                <a:gd name="connsiteX168" fmla="*/ 665420 w 2773132"/>
                <a:gd name="connsiteY168" fmla="*/ 1998325 h 2775542"/>
                <a:gd name="connsiteX169" fmla="*/ 665420 w 2773132"/>
                <a:gd name="connsiteY169" fmla="*/ 1887435 h 2775542"/>
                <a:gd name="connsiteX170" fmla="*/ 665420 w 2773132"/>
                <a:gd name="connsiteY170" fmla="*/ 1776545 h 2775542"/>
                <a:gd name="connsiteX171" fmla="*/ 665420 w 2773132"/>
                <a:gd name="connsiteY171" fmla="*/ 1665656 h 2775542"/>
                <a:gd name="connsiteX172" fmla="*/ 665420 w 2773132"/>
                <a:gd name="connsiteY172" fmla="*/ 1554766 h 2775542"/>
                <a:gd name="connsiteX173" fmla="*/ 665420 w 2773132"/>
                <a:gd name="connsiteY173" fmla="*/ 1443876 h 2775542"/>
                <a:gd name="connsiteX174" fmla="*/ 665420 w 2773132"/>
                <a:gd name="connsiteY174" fmla="*/ 1332987 h 2775542"/>
                <a:gd name="connsiteX175" fmla="*/ 665420 w 2773132"/>
                <a:gd name="connsiteY175" fmla="*/ 1221107 h 2775542"/>
                <a:gd name="connsiteX176" fmla="*/ 776213 w 2773132"/>
                <a:gd name="connsiteY176" fmla="*/ 1221107 h 2775542"/>
                <a:gd name="connsiteX177" fmla="*/ 887007 w 2773132"/>
                <a:gd name="connsiteY177" fmla="*/ 1221107 h 2775542"/>
                <a:gd name="connsiteX178" fmla="*/ 997800 w 2773132"/>
                <a:gd name="connsiteY178" fmla="*/ 1221107 h 2775542"/>
                <a:gd name="connsiteX179" fmla="*/ 997800 w 2773132"/>
                <a:gd name="connsiteY179" fmla="*/ 1331997 h 2775542"/>
                <a:gd name="connsiteX180" fmla="*/ 997800 w 2773132"/>
                <a:gd name="connsiteY180" fmla="*/ 1442886 h 2775542"/>
                <a:gd name="connsiteX181" fmla="*/ 997800 w 2773132"/>
                <a:gd name="connsiteY181" fmla="*/ 1553776 h 2775542"/>
                <a:gd name="connsiteX182" fmla="*/ 997800 w 2773132"/>
                <a:gd name="connsiteY182" fmla="*/ 1664666 h 2775542"/>
                <a:gd name="connsiteX183" fmla="*/ 997800 w 2773132"/>
                <a:gd name="connsiteY183" fmla="*/ 1775555 h 2775542"/>
                <a:gd name="connsiteX184" fmla="*/ 997800 w 2773132"/>
                <a:gd name="connsiteY184" fmla="*/ 1886445 h 2775542"/>
                <a:gd name="connsiteX185" fmla="*/ 997800 w 2773132"/>
                <a:gd name="connsiteY185" fmla="*/ 1997335 h 2775542"/>
                <a:gd name="connsiteX186" fmla="*/ 997800 w 2773132"/>
                <a:gd name="connsiteY186" fmla="*/ 2108225 h 2775542"/>
                <a:gd name="connsiteX187" fmla="*/ 997800 w 2773132"/>
                <a:gd name="connsiteY187" fmla="*/ 2219114 h 2775542"/>
                <a:gd name="connsiteX188" fmla="*/ 887007 w 2773132"/>
                <a:gd name="connsiteY188" fmla="*/ 2219114 h 2775542"/>
                <a:gd name="connsiteX189" fmla="*/ 776213 w 2773132"/>
                <a:gd name="connsiteY189" fmla="*/ 2219114 h 2775542"/>
                <a:gd name="connsiteX190" fmla="*/ 665420 w 2773132"/>
                <a:gd name="connsiteY190" fmla="*/ 2219114 h 2775542"/>
                <a:gd name="connsiteX191" fmla="*/ 665420 w 2773132"/>
                <a:gd name="connsiteY191" fmla="*/ 2109215 h 277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</a:cxnLst>
              <a:rect l="l" t="t" r="r" b="b"/>
              <a:pathLst>
                <a:path w="2773132" h="2775542">
                  <a:moveTo>
                    <a:pt x="2662009" y="332999"/>
                  </a:moveTo>
                  <a:lnTo>
                    <a:pt x="2662009" y="222109"/>
                  </a:lnTo>
                  <a:lnTo>
                    <a:pt x="2551216" y="22210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21107"/>
                  </a:lnTo>
                  <a:lnTo>
                    <a:pt x="0" y="1331997"/>
                  </a:lnTo>
                  <a:lnTo>
                    <a:pt x="0" y="1442886"/>
                  </a:lnTo>
                  <a:lnTo>
                    <a:pt x="0" y="1553776"/>
                  </a:lnTo>
                  <a:lnTo>
                    <a:pt x="0" y="1664666"/>
                  </a:lnTo>
                  <a:lnTo>
                    <a:pt x="0" y="1775555"/>
                  </a:lnTo>
                  <a:lnTo>
                    <a:pt x="0" y="1886445"/>
                  </a:lnTo>
                  <a:lnTo>
                    <a:pt x="0" y="1997335"/>
                  </a:lnTo>
                  <a:lnTo>
                    <a:pt x="0" y="2108225"/>
                  </a:lnTo>
                  <a:lnTo>
                    <a:pt x="0" y="2219114"/>
                  </a:lnTo>
                  <a:lnTo>
                    <a:pt x="0" y="2330004"/>
                  </a:lnTo>
                  <a:lnTo>
                    <a:pt x="0" y="2442214"/>
                  </a:lnTo>
                  <a:lnTo>
                    <a:pt x="110793" y="2442214"/>
                  </a:lnTo>
                  <a:lnTo>
                    <a:pt x="110793" y="2553103"/>
                  </a:lnTo>
                  <a:lnTo>
                    <a:pt x="221587" y="2553103"/>
                  </a:lnTo>
                  <a:lnTo>
                    <a:pt x="221587" y="2663993"/>
                  </a:lnTo>
                  <a:lnTo>
                    <a:pt x="332380" y="2663993"/>
                  </a:lnTo>
                  <a:lnTo>
                    <a:pt x="332380" y="2775543"/>
                  </a:lnTo>
                  <a:lnTo>
                    <a:pt x="443174" y="2775543"/>
                  </a:lnTo>
                  <a:lnTo>
                    <a:pt x="553967" y="2775543"/>
                  </a:lnTo>
                  <a:lnTo>
                    <a:pt x="664760" y="2775543"/>
                  </a:lnTo>
                  <a:lnTo>
                    <a:pt x="775554" y="2775543"/>
                  </a:lnTo>
                  <a:lnTo>
                    <a:pt x="886347" y="2775543"/>
                  </a:lnTo>
                  <a:lnTo>
                    <a:pt x="997140" y="2775543"/>
                  </a:lnTo>
                  <a:lnTo>
                    <a:pt x="1107934" y="2775543"/>
                  </a:lnTo>
                  <a:lnTo>
                    <a:pt x="1220046" y="2775543"/>
                  </a:lnTo>
                  <a:lnTo>
                    <a:pt x="1330840" y="2775543"/>
                  </a:lnTo>
                  <a:lnTo>
                    <a:pt x="1441633" y="2775543"/>
                  </a:lnTo>
                  <a:lnTo>
                    <a:pt x="1552426" y="2775543"/>
                  </a:lnTo>
                  <a:lnTo>
                    <a:pt x="1663220" y="2775543"/>
                  </a:lnTo>
                  <a:lnTo>
                    <a:pt x="1774013" y="2775543"/>
                  </a:lnTo>
                  <a:lnTo>
                    <a:pt x="1884806" y="2775543"/>
                  </a:lnTo>
                  <a:lnTo>
                    <a:pt x="1995600" y="2775543"/>
                  </a:lnTo>
                  <a:lnTo>
                    <a:pt x="2106393" y="2775543"/>
                  </a:lnTo>
                  <a:lnTo>
                    <a:pt x="2217187" y="2775543"/>
                  </a:lnTo>
                  <a:lnTo>
                    <a:pt x="2327980" y="2775543"/>
                  </a:lnTo>
                  <a:lnTo>
                    <a:pt x="2440092" y="2775543"/>
                  </a:lnTo>
                  <a:lnTo>
                    <a:pt x="2440092" y="2664653"/>
                  </a:lnTo>
                  <a:lnTo>
                    <a:pt x="2550886" y="2664653"/>
                  </a:lnTo>
                  <a:lnTo>
                    <a:pt x="2550886" y="2553764"/>
                  </a:lnTo>
                  <a:lnTo>
                    <a:pt x="2661679" y="2553764"/>
                  </a:lnTo>
                  <a:lnTo>
                    <a:pt x="2661679" y="2442214"/>
                  </a:lnTo>
                  <a:lnTo>
                    <a:pt x="2773132" y="2442214"/>
                  </a:lnTo>
                  <a:lnTo>
                    <a:pt x="2773132" y="2331324"/>
                  </a:lnTo>
                  <a:lnTo>
                    <a:pt x="2773132" y="2220434"/>
                  </a:lnTo>
                  <a:lnTo>
                    <a:pt x="2773132" y="2109545"/>
                  </a:lnTo>
                  <a:lnTo>
                    <a:pt x="2773132" y="1998655"/>
                  </a:lnTo>
                  <a:lnTo>
                    <a:pt x="2773132" y="1887765"/>
                  </a:lnTo>
                  <a:lnTo>
                    <a:pt x="2773132" y="1776876"/>
                  </a:lnTo>
                  <a:lnTo>
                    <a:pt x="2773132" y="1665986"/>
                  </a:lnTo>
                  <a:lnTo>
                    <a:pt x="2773132" y="1555096"/>
                  </a:lnTo>
                  <a:lnTo>
                    <a:pt x="2773132" y="1444206"/>
                  </a:lnTo>
                  <a:lnTo>
                    <a:pt x="2773132" y="1333317"/>
                  </a:lnTo>
                  <a:lnTo>
                    <a:pt x="2773132" y="1221107"/>
                  </a:lnTo>
                  <a:lnTo>
                    <a:pt x="2773132" y="1110217"/>
                  </a:lnTo>
                  <a:lnTo>
                    <a:pt x="2773132" y="999327"/>
                  </a:lnTo>
                  <a:lnTo>
                    <a:pt x="2773132" y="888438"/>
                  </a:lnTo>
                  <a:lnTo>
                    <a:pt x="2773132" y="777548"/>
                  </a:lnTo>
                  <a:lnTo>
                    <a:pt x="2773132" y="666658"/>
                  </a:lnTo>
                  <a:lnTo>
                    <a:pt x="2773132" y="555769"/>
                  </a:lnTo>
                  <a:lnTo>
                    <a:pt x="2773132" y="444879"/>
                  </a:lnTo>
                  <a:lnTo>
                    <a:pt x="2773132" y="333989"/>
                  </a:lnTo>
                  <a:lnTo>
                    <a:pt x="2662009" y="333989"/>
                  </a:lnTo>
                  <a:close/>
                  <a:moveTo>
                    <a:pt x="2218506" y="2220434"/>
                  </a:moveTo>
                  <a:lnTo>
                    <a:pt x="2107712" y="2220434"/>
                  </a:lnTo>
                  <a:lnTo>
                    <a:pt x="1996919" y="2220434"/>
                  </a:lnTo>
                  <a:lnTo>
                    <a:pt x="1996919" y="2109545"/>
                  </a:lnTo>
                  <a:lnTo>
                    <a:pt x="1996919" y="1998655"/>
                  </a:lnTo>
                  <a:lnTo>
                    <a:pt x="1996919" y="1887765"/>
                  </a:lnTo>
                  <a:lnTo>
                    <a:pt x="1996919" y="1776876"/>
                  </a:lnTo>
                  <a:lnTo>
                    <a:pt x="1996919" y="1665986"/>
                  </a:lnTo>
                  <a:lnTo>
                    <a:pt x="1996919" y="1555096"/>
                  </a:lnTo>
                  <a:lnTo>
                    <a:pt x="1886126" y="1555096"/>
                  </a:lnTo>
                  <a:lnTo>
                    <a:pt x="1886126" y="1444206"/>
                  </a:lnTo>
                  <a:lnTo>
                    <a:pt x="1775332" y="1444206"/>
                  </a:lnTo>
                  <a:lnTo>
                    <a:pt x="1664539" y="1444206"/>
                  </a:lnTo>
                  <a:lnTo>
                    <a:pt x="1664539" y="1555096"/>
                  </a:lnTo>
                  <a:lnTo>
                    <a:pt x="1553745" y="1555096"/>
                  </a:lnTo>
                  <a:lnTo>
                    <a:pt x="1553745" y="1665986"/>
                  </a:lnTo>
                  <a:lnTo>
                    <a:pt x="1553745" y="1776876"/>
                  </a:lnTo>
                  <a:lnTo>
                    <a:pt x="1553745" y="1887765"/>
                  </a:lnTo>
                  <a:lnTo>
                    <a:pt x="1553745" y="1998655"/>
                  </a:lnTo>
                  <a:lnTo>
                    <a:pt x="1553745" y="2109545"/>
                  </a:lnTo>
                  <a:lnTo>
                    <a:pt x="1553745" y="2220434"/>
                  </a:lnTo>
                  <a:lnTo>
                    <a:pt x="1442952" y="2220434"/>
                  </a:lnTo>
                  <a:lnTo>
                    <a:pt x="1332159" y="2220434"/>
                  </a:lnTo>
                  <a:lnTo>
                    <a:pt x="1220046" y="2220434"/>
                  </a:lnTo>
                  <a:lnTo>
                    <a:pt x="1220046" y="2109545"/>
                  </a:lnTo>
                  <a:lnTo>
                    <a:pt x="1220046" y="1998655"/>
                  </a:lnTo>
                  <a:lnTo>
                    <a:pt x="1220046" y="1887765"/>
                  </a:lnTo>
                  <a:lnTo>
                    <a:pt x="1220046" y="1776876"/>
                  </a:lnTo>
                  <a:lnTo>
                    <a:pt x="1220046" y="1665986"/>
                  </a:lnTo>
                  <a:lnTo>
                    <a:pt x="1220046" y="1555096"/>
                  </a:lnTo>
                  <a:lnTo>
                    <a:pt x="1220046" y="1444206"/>
                  </a:lnTo>
                  <a:lnTo>
                    <a:pt x="1220046" y="1333317"/>
                  </a:lnTo>
                  <a:lnTo>
                    <a:pt x="1220046" y="1221107"/>
                  </a:lnTo>
                  <a:lnTo>
                    <a:pt x="1330840" y="1221107"/>
                  </a:lnTo>
                  <a:lnTo>
                    <a:pt x="1441633" y="1221107"/>
                  </a:lnTo>
                  <a:lnTo>
                    <a:pt x="1552426" y="1221107"/>
                  </a:lnTo>
                  <a:lnTo>
                    <a:pt x="1552426" y="1331997"/>
                  </a:lnTo>
                  <a:lnTo>
                    <a:pt x="1663220" y="1331997"/>
                  </a:lnTo>
                  <a:lnTo>
                    <a:pt x="1663220" y="1221107"/>
                  </a:lnTo>
                  <a:lnTo>
                    <a:pt x="1774013" y="1221107"/>
                  </a:lnTo>
                  <a:lnTo>
                    <a:pt x="1884806" y="1221107"/>
                  </a:lnTo>
                  <a:lnTo>
                    <a:pt x="1995600" y="1221107"/>
                  </a:lnTo>
                  <a:lnTo>
                    <a:pt x="1995600" y="1331997"/>
                  </a:lnTo>
                  <a:lnTo>
                    <a:pt x="2106393" y="1331997"/>
                  </a:lnTo>
                  <a:lnTo>
                    <a:pt x="2106393" y="1442886"/>
                  </a:lnTo>
                  <a:lnTo>
                    <a:pt x="2217187" y="1442886"/>
                  </a:lnTo>
                  <a:lnTo>
                    <a:pt x="2217187" y="1553776"/>
                  </a:lnTo>
                  <a:lnTo>
                    <a:pt x="2217187" y="1664666"/>
                  </a:lnTo>
                  <a:lnTo>
                    <a:pt x="2217187" y="1775555"/>
                  </a:lnTo>
                  <a:lnTo>
                    <a:pt x="2217187" y="1886445"/>
                  </a:lnTo>
                  <a:lnTo>
                    <a:pt x="2217187" y="1997335"/>
                  </a:lnTo>
                  <a:lnTo>
                    <a:pt x="2217187" y="2108225"/>
                  </a:lnTo>
                  <a:lnTo>
                    <a:pt x="2217187" y="2220434"/>
                  </a:lnTo>
                  <a:close/>
                  <a:moveTo>
                    <a:pt x="665420" y="665998"/>
                  </a:moveTo>
                  <a:lnTo>
                    <a:pt x="776213" y="665998"/>
                  </a:lnTo>
                  <a:lnTo>
                    <a:pt x="887007" y="665998"/>
                  </a:lnTo>
                  <a:lnTo>
                    <a:pt x="997800" y="665998"/>
                  </a:lnTo>
                  <a:lnTo>
                    <a:pt x="997800" y="776888"/>
                  </a:lnTo>
                  <a:lnTo>
                    <a:pt x="997800" y="887778"/>
                  </a:lnTo>
                  <a:lnTo>
                    <a:pt x="997800" y="998667"/>
                  </a:lnTo>
                  <a:lnTo>
                    <a:pt x="887007" y="998667"/>
                  </a:lnTo>
                  <a:lnTo>
                    <a:pt x="776213" y="998667"/>
                  </a:lnTo>
                  <a:lnTo>
                    <a:pt x="665420" y="998667"/>
                  </a:lnTo>
                  <a:lnTo>
                    <a:pt x="665420" y="887778"/>
                  </a:lnTo>
                  <a:lnTo>
                    <a:pt x="665420" y="776888"/>
                  </a:lnTo>
                  <a:lnTo>
                    <a:pt x="665420" y="665998"/>
                  </a:lnTo>
                  <a:close/>
                  <a:moveTo>
                    <a:pt x="665420" y="2109215"/>
                  </a:moveTo>
                  <a:lnTo>
                    <a:pt x="665420" y="1998325"/>
                  </a:lnTo>
                  <a:lnTo>
                    <a:pt x="665420" y="1887435"/>
                  </a:lnTo>
                  <a:lnTo>
                    <a:pt x="665420" y="1776545"/>
                  </a:lnTo>
                  <a:lnTo>
                    <a:pt x="665420" y="1665656"/>
                  </a:lnTo>
                  <a:lnTo>
                    <a:pt x="665420" y="1554766"/>
                  </a:lnTo>
                  <a:lnTo>
                    <a:pt x="665420" y="1443876"/>
                  </a:lnTo>
                  <a:lnTo>
                    <a:pt x="665420" y="1332987"/>
                  </a:lnTo>
                  <a:lnTo>
                    <a:pt x="665420" y="1221107"/>
                  </a:lnTo>
                  <a:lnTo>
                    <a:pt x="776213" y="1221107"/>
                  </a:lnTo>
                  <a:lnTo>
                    <a:pt x="887007" y="1221107"/>
                  </a:lnTo>
                  <a:lnTo>
                    <a:pt x="997800" y="1221107"/>
                  </a:lnTo>
                  <a:lnTo>
                    <a:pt x="997800" y="1331997"/>
                  </a:lnTo>
                  <a:lnTo>
                    <a:pt x="997800" y="1442886"/>
                  </a:lnTo>
                  <a:lnTo>
                    <a:pt x="997800" y="1553776"/>
                  </a:lnTo>
                  <a:lnTo>
                    <a:pt x="997800" y="1664666"/>
                  </a:lnTo>
                  <a:lnTo>
                    <a:pt x="997800" y="1775555"/>
                  </a:lnTo>
                  <a:lnTo>
                    <a:pt x="997800" y="1886445"/>
                  </a:lnTo>
                  <a:lnTo>
                    <a:pt x="997800" y="1997335"/>
                  </a:lnTo>
                  <a:lnTo>
                    <a:pt x="997800" y="2108225"/>
                  </a:lnTo>
                  <a:lnTo>
                    <a:pt x="997800" y="2219114"/>
                  </a:lnTo>
                  <a:lnTo>
                    <a:pt x="887007" y="2219114"/>
                  </a:lnTo>
                  <a:lnTo>
                    <a:pt x="776213" y="2219114"/>
                  </a:lnTo>
                  <a:lnTo>
                    <a:pt x="665420" y="2219114"/>
                  </a:lnTo>
                  <a:lnTo>
                    <a:pt x="665420" y="2109215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36" name="Graphic 34">
            <a:extLst>
              <a:ext uri="{FF2B5EF4-FFF2-40B4-BE49-F238E27FC236}">
                <a16:creationId xmlns:a16="http://schemas.microsoft.com/office/drawing/2014/main" id="{DA2B7C11-5FC4-B047-5F69-D2B8B392910C}"/>
              </a:ext>
            </a:extLst>
          </p:cNvPr>
          <p:cNvGrpSpPr/>
          <p:nvPr/>
        </p:nvGrpSpPr>
        <p:grpSpPr>
          <a:xfrm>
            <a:off x="993702" y="4678861"/>
            <a:ext cx="671487" cy="671487"/>
            <a:chOff x="-3816001" y="3357146"/>
            <a:chExt cx="849600" cy="849600"/>
          </a:xfrm>
        </p:grpSpPr>
        <p:grpSp>
          <p:nvGrpSpPr>
            <p:cNvPr id="37" name="Graphic 34">
              <a:extLst>
                <a:ext uri="{FF2B5EF4-FFF2-40B4-BE49-F238E27FC236}">
                  <a16:creationId xmlns:a16="http://schemas.microsoft.com/office/drawing/2014/main" id="{41A58DF9-1E67-C2A6-7F25-D984EFFB5FFF}"/>
                </a:ext>
              </a:extLst>
            </p:cNvPr>
            <p:cNvGrpSpPr/>
            <p:nvPr/>
          </p:nvGrpSpPr>
          <p:grpSpPr>
            <a:xfrm>
              <a:off x="-3646081" y="3527369"/>
              <a:ext cx="543299" cy="543299"/>
              <a:chOff x="-3646081" y="3527369"/>
              <a:chExt cx="543299" cy="543299"/>
            </a:xfrm>
            <a:solidFill>
              <a:srgbClr val="00FF00"/>
            </a:solidFill>
          </p:grpSpPr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EED6AFA-CDA9-C17F-4244-C2D58EE6E060}"/>
                  </a:ext>
                </a:extLst>
              </p:cNvPr>
              <p:cNvSpPr/>
              <p:nvPr/>
            </p:nvSpPr>
            <p:spPr>
              <a:xfrm>
                <a:off x="-3612036" y="3527369"/>
                <a:ext cx="509254" cy="543299"/>
              </a:xfrm>
              <a:custGeom>
                <a:avLst/>
                <a:gdLst>
                  <a:gd name="connsiteX0" fmla="*/ 475715 w 509254"/>
                  <a:gd name="connsiteY0" fmla="*/ 271549 h 543299"/>
                  <a:gd name="connsiteX1" fmla="*/ 475715 w 509254"/>
                  <a:gd name="connsiteY1" fmla="*/ 237605 h 543299"/>
                  <a:gd name="connsiteX2" fmla="*/ 441772 w 509254"/>
                  <a:gd name="connsiteY2" fmla="*/ 237605 h 543299"/>
                  <a:gd name="connsiteX3" fmla="*/ 407828 w 509254"/>
                  <a:gd name="connsiteY3" fmla="*/ 237605 h 543299"/>
                  <a:gd name="connsiteX4" fmla="*/ 374390 w 509254"/>
                  <a:gd name="connsiteY4" fmla="*/ 237605 h 543299"/>
                  <a:gd name="connsiteX5" fmla="*/ 374390 w 509254"/>
                  <a:gd name="connsiteY5" fmla="*/ 204167 h 543299"/>
                  <a:gd name="connsiteX6" fmla="*/ 374390 w 509254"/>
                  <a:gd name="connsiteY6" fmla="*/ 170223 h 543299"/>
                  <a:gd name="connsiteX7" fmla="*/ 374390 w 509254"/>
                  <a:gd name="connsiteY7" fmla="*/ 169718 h 543299"/>
                  <a:gd name="connsiteX8" fmla="*/ 407828 w 509254"/>
                  <a:gd name="connsiteY8" fmla="*/ 169718 h 543299"/>
                  <a:gd name="connsiteX9" fmla="*/ 407828 w 509254"/>
                  <a:gd name="connsiteY9" fmla="*/ 135774 h 543299"/>
                  <a:gd name="connsiteX10" fmla="*/ 407828 w 509254"/>
                  <a:gd name="connsiteY10" fmla="*/ 101831 h 543299"/>
                  <a:gd name="connsiteX11" fmla="*/ 374289 w 509254"/>
                  <a:gd name="connsiteY11" fmla="*/ 101831 h 543299"/>
                  <a:gd name="connsiteX12" fmla="*/ 373784 w 509254"/>
                  <a:gd name="connsiteY12" fmla="*/ 67887 h 543299"/>
                  <a:gd name="connsiteX13" fmla="*/ 339840 w 509254"/>
                  <a:gd name="connsiteY13" fmla="*/ 67887 h 543299"/>
                  <a:gd name="connsiteX14" fmla="*/ 339840 w 509254"/>
                  <a:gd name="connsiteY14" fmla="*/ 33944 h 543299"/>
                  <a:gd name="connsiteX15" fmla="*/ 305896 w 509254"/>
                  <a:gd name="connsiteY15" fmla="*/ 33944 h 543299"/>
                  <a:gd name="connsiteX16" fmla="*/ 305896 w 509254"/>
                  <a:gd name="connsiteY16" fmla="*/ 0 h 543299"/>
                  <a:gd name="connsiteX17" fmla="*/ 271953 w 509254"/>
                  <a:gd name="connsiteY17" fmla="*/ 0 h 543299"/>
                  <a:gd name="connsiteX18" fmla="*/ 238009 w 509254"/>
                  <a:gd name="connsiteY18" fmla="*/ 0 h 543299"/>
                  <a:gd name="connsiteX19" fmla="*/ 204066 w 509254"/>
                  <a:gd name="connsiteY19" fmla="*/ 0 h 543299"/>
                  <a:gd name="connsiteX20" fmla="*/ 169819 w 509254"/>
                  <a:gd name="connsiteY20" fmla="*/ 0 h 543299"/>
                  <a:gd name="connsiteX21" fmla="*/ 135875 w 509254"/>
                  <a:gd name="connsiteY21" fmla="*/ 0 h 543299"/>
                  <a:gd name="connsiteX22" fmla="*/ 101932 w 509254"/>
                  <a:gd name="connsiteY22" fmla="*/ 0 h 543299"/>
                  <a:gd name="connsiteX23" fmla="*/ 67988 w 509254"/>
                  <a:gd name="connsiteY23" fmla="*/ 0 h 543299"/>
                  <a:gd name="connsiteX24" fmla="*/ 34045 w 509254"/>
                  <a:gd name="connsiteY24" fmla="*/ 0 h 543299"/>
                  <a:gd name="connsiteX25" fmla="*/ 34045 w 509254"/>
                  <a:gd name="connsiteY25" fmla="*/ 33944 h 543299"/>
                  <a:gd name="connsiteX26" fmla="*/ 34550 w 509254"/>
                  <a:gd name="connsiteY26" fmla="*/ 33944 h 543299"/>
                  <a:gd name="connsiteX27" fmla="*/ 34550 w 509254"/>
                  <a:gd name="connsiteY27" fmla="*/ 67180 h 543299"/>
                  <a:gd name="connsiteX28" fmla="*/ 34550 w 509254"/>
                  <a:gd name="connsiteY28" fmla="*/ 101124 h 543299"/>
                  <a:gd name="connsiteX29" fmla="*/ 34045 w 509254"/>
                  <a:gd name="connsiteY29" fmla="*/ 101124 h 543299"/>
                  <a:gd name="connsiteX30" fmla="*/ 34449 w 509254"/>
                  <a:gd name="connsiteY30" fmla="*/ 67180 h 543299"/>
                  <a:gd name="connsiteX31" fmla="*/ 33944 w 509254"/>
                  <a:gd name="connsiteY31" fmla="*/ 67180 h 543299"/>
                  <a:gd name="connsiteX32" fmla="*/ 33944 w 509254"/>
                  <a:gd name="connsiteY32" fmla="*/ 33742 h 543299"/>
                  <a:gd name="connsiteX33" fmla="*/ 0 w 509254"/>
                  <a:gd name="connsiteY33" fmla="*/ 33742 h 543299"/>
                  <a:gd name="connsiteX34" fmla="*/ 0 w 509254"/>
                  <a:gd name="connsiteY34" fmla="*/ 67685 h 543299"/>
                  <a:gd name="connsiteX35" fmla="*/ 505 w 509254"/>
                  <a:gd name="connsiteY35" fmla="*/ 67685 h 543299"/>
                  <a:gd name="connsiteX36" fmla="*/ 505 w 509254"/>
                  <a:gd name="connsiteY36" fmla="*/ 101124 h 543299"/>
                  <a:gd name="connsiteX37" fmla="*/ 505 w 509254"/>
                  <a:gd name="connsiteY37" fmla="*/ 135067 h 543299"/>
                  <a:gd name="connsiteX38" fmla="*/ 505 w 509254"/>
                  <a:gd name="connsiteY38" fmla="*/ 169011 h 543299"/>
                  <a:gd name="connsiteX39" fmla="*/ 505 w 509254"/>
                  <a:gd name="connsiteY39" fmla="*/ 202954 h 543299"/>
                  <a:gd name="connsiteX40" fmla="*/ 505 w 509254"/>
                  <a:gd name="connsiteY40" fmla="*/ 236898 h 543299"/>
                  <a:gd name="connsiteX41" fmla="*/ 505 w 509254"/>
                  <a:gd name="connsiteY41" fmla="*/ 270842 h 543299"/>
                  <a:gd name="connsiteX42" fmla="*/ 505 w 509254"/>
                  <a:gd name="connsiteY42" fmla="*/ 304785 h 543299"/>
                  <a:gd name="connsiteX43" fmla="*/ 34449 w 509254"/>
                  <a:gd name="connsiteY43" fmla="*/ 304785 h 543299"/>
                  <a:gd name="connsiteX44" fmla="*/ 34449 w 509254"/>
                  <a:gd name="connsiteY44" fmla="*/ 338729 h 543299"/>
                  <a:gd name="connsiteX45" fmla="*/ 33944 w 509254"/>
                  <a:gd name="connsiteY45" fmla="*/ 338729 h 543299"/>
                  <a:gd name="connsiteX46" fmla="*/ 33944 w 509254"/>
                  <a:gd name="connsiteY46" fmla="*/ 305290 h 543299"/>
                  <a:gd name="connsiteX47" fmla="*/ 505 w 509254"/>
                  <a:gd name="connsiteY47" fmla="*/ 304785 h 543299"/>
                  <a:gd name="connsiteX48" fmla="*/ 505 w 509254"/>
                  <a:gd name="connsiteY48" fmla="*/ 338729 h 543299"/>
                  <a:gd name="connsiteX49" fmla="*/ 505 w 509254"/>
                  <a:gd name="connsiteY49" fmla="*/ 372672 h 543299"/>
                  <a:gd name="connsiteX50" fmla="*/ 505 w 509254"/>
                  <a:gd name="connsiteY50" fmla="*/ 406616 h 543299"/>
                  <a:gd name="connsiteX51" fmla="*/ 505 w 509254"/>
                  <a:gd name="connsiteY51" fmla="*/ 440964 h 543299"/>
                  <a:gd name="connsiteX52" fmla="*/ 33944 w 509254"/>
                  <a:gd name="connsiteY52" fmla="*/ 440964 h 543299"/>
                  <a:gd name="connsiteX53" fmla="*/ 33944 w 509254"/>
                  <a:gd name="connsiteY53" fmla="*/ 441469 h 543299"/>
                  <a:gd name="connsiteX54" fmla="*/ 0 w 509254"/>
                  <a:gd name="connsiteY54" fmla="*/ 441469 h 543299"/>
                  <a:gd name="connsiteX55" fmla="*/ 0 w 509254"/>
                  <a:gd name="connsiteY55" fmla="*/ 475412 h 543299"/>
                  <a:gd name="connsiteX56" fmla="*/ 33944 w 509254"/>
                  <a:gd name="connsiteY56" fmla="*/ 475412 h 543299"/>
                  <a:gd name="connsiteX57" fmla="*/ 33944 w 509254"/>
                  <a:gd name="connsiteY57" fmla="*/ 509356 h 543299"/>
                  <a:gd name="connsiteX58" fmla="*/ 67887 w 509254"/>
                  <a:gd name="connsiteY58" fmla="*/ 509356 h 543299"/>
                  <a:gd name="connsiteX59" fmla="*/ 67887 w 509254"/>
                  <a:gd name="connsiteY59" fmla="*/ 543300 h 543299"/>
                  <a:gd name="connsiteX60" fmla="*/ 101831 w 509254"/>
                  <a:gd name="connsiteY60" fmla="*/ 543300 h 543299"/>
                  <a:gd name="connsiteX61" fmla="*/ 135774 w 509254"/>
                  <a:gd name="connsiteY61" fmla="*/ 543300 h 543299"/>
                  <a:gd name="connsiteX62" fmla="*/ 169819 w 509254"/>
                  <a:gd name="connsiteY62" fmla="*/ 543300 h 543299"/>
                  <a:gd name="connsiteX63" fmla="*/ 203763 w 509254"/>
                  <a:gd name="connsiteY63" fmla="*/ 543300 h 543299"/>
                  <a:gd name="connsiteX64" fmla="*/ 237706 w 509254"/>
                  <a:gd name="connsiteY64" fmla="*/ 543300 h 543299"/>
                  <a:gd name="connsiteX65" fmla="*/ 271650 w 509254"/>
                  <a:gd name="connsiteY65" fmla="*/ 543300 h 543299"/>
                  <a:gd name="connsiteX66" fmla="*/ 305593 w 509254"/>
                  <a:gd name="connsiteY66" fmla="*/ 543300 h 543299"/>
                  <a:gd name="connsiteX67" fmla="*/ 339537 w 509254"/>
                  <a:gd name="connsiteY67" fmla="*/ 543300 h 543299"/>
                  <a:gd name="connsiteX68" fmla="*/ 373481 w 509254"/>
                  <a:gd name="connsiteY68" fmla="*/ 543300 h 543299"/>
                  <a:gd name="connsiteX69" fmla="*/ 373481 w 509254"/>
                  <a:gd name="connsiteY69" fmla="*/ 509356 h 543299"/>
                  <a:gd name="connsiteX70" fmla="*/ 407424 w 509254"/>
                  <a:gd name="connsiteY70" fmla="*/ 509356 h 543299"/>
                  <a:gd name="connsiteX71" fmla="*/ 441368 w 509254"/>
                  <a:gd name="connsiteY71" fmla="*/ 509356 h 543299"/>
                  <a:gd name="connsiteX72" fmla="*/ 441368 w 509254"/>
                  <a:gd name="connsiteY72" fmla="*/ 475412 h 543299"/>
                  <a:gd name="connsiteX73" fmla="*/ 475311 w 509254"/>
                  <a:gd name="connsiteY73" fmla="*/ 475412 h 543299"/>
                  <a:gd name="connsiteX74" fmla="*/ 475311 w 509254"/>
                  <a:gd name="connsiteY74" fmla="*/ 441469 h 543299"/>
                  <a:gd name="connsiteX75" fmla="*/ 509255 w 509254"/>
                  <a:gd name="connsiteY75" fmla="*/ 441469 h 543299"/>
                  <a:gd name="connsiteX76" fmla="*/ 509255 w 509254"/>
                  <a:gd name="connsiteY76" fmla="*/ 407525 h 543299"/>
                  <a:gd name="connsiteX77" fmla="*/ 509255 w 509254"/>
                  <a:gd name="connsiteY77" fmla="*/ 373582 h 543299"/>
                  <a:gd name="connsiteX78" fmla="*/ 509255 w 509254"/>
                  <a:gd name="connsiteY78" fmla="*/ 339638 h 543299"/>
                  <a:gd name="connsiteX79" fmla="*/ 509255 w 509254"/>
                  <a:gd name="connsiteY79" fmla="*/ 305694 h 543299"/>
                  <a:gd name="connsiteX80" fmla="*/ 509255 w 509254"/>
                  <a:gd name="connsiteY80" fmla="*/ 271751 h 543299"/>
                  <a:gd name="connsiteX81" fmla="*/ 475715 w 509254"/>
                  <a:gd name="connsiteY81" fmla="*/ 271751 h 543299"/>
                  <a:gd name="connsiteX82" fmla="*/ 135875 w 509254"/>
                  <a:gd name="connsiteY82" fmla="*/ 135572 h 543299"/>
                  <a:gd name="connsiteX83" fmla="*/ 169819 w 509254"/>
                  <a:gd name="connsiteY83" fmla="*/ 135572 h 543299"/>
                  <a:gd name="connsiteX84" fmla="*/ 203763 w 509254"/>
                  <a:gd name="connsiteY84" fmla="*/ 135572 h 543299"/>
                  <a:gd name="connsiteX85" fmla="*/ 237706 w 509254"/>
                  <a:gd name="connsiteY85" fmla="*/ 135572 h 543299"/>
                  <a:gd name="connsiteX86" fmla="*/ 271650 w 509254"/>
                  <a:gd name="connsiteY86" fmla="*/ 135572 h 543299"/>
                  <a:gd name="connsiteX87" fmla="*/ 271650 w 509254"/>
                  <a:gd name="connsiteY87" fmla="*/ 169516 h 543299"/>
                  <a:gd name="connsiteX88" fmla="*/ 271650 w 509254"/>
                  <a:gd name="connsiteY88" fmla="*/ 203561 h 543299"/>
                  <a:gd name="connsiteX89" fmla="*/ 237706 w 509254"/>
                  <a:gd name="connsiteY89" fmla="*/ 203561 h 543299"/>
                  <a:gd name="connsiteX90" fmla="*/ 203763 w 509254"/>
                  <a:gd name="connsiteY90" fmla="*/ 203561 h 543299"/>
                  <a:gd name="connsiteX91" fmla="*/ 169819 w 509254"/>
                  <a:gd name="connsiteY91" fmla="*/ 203561 h 543299"/>
                  <a:gd name="connsiteX92" fmla="*/ 135875 w 509254"/>
                  <a:gd name="connsiteY92" fmla="*/ 203561 h 543299"/>
                  <a:gd name="connsiteX93" fmla="*/ 101932 w 509254"/>
                  <a:gd name="connsiteY93" fmla="*/ 203561 h 543299"/>
                  <a:gd name="connsiteX94" fmla="*/ 101932 w 509254"/>
                  <a:gd name="connsiteY94" fmla="*/ 169617 h 543299"/>
                  <a:gd name="connsiteX95" fmla="*/ 101932 w 509254"/>
                  <a:gd name="connsiteY95" fmla="*/ 135673 h 543299"/>
                  <a:gd name="connsiteX96" fmla="*/ 135875 w 509254"/>
                  <a:gd name="connsiteY96" fmla="*/ 135673 h 543299"/>
                  <a:gd name="connsiteX97" fmla="*/ 101831 w 509254"/>
                  <a:gd name="connsiteY97" fmla="*/ 373481 h 543299"/>
                  <a:gd name="connsiteX98" fmla="*/ 101831 w 509254"/>
                  <a:gd name="connsiteY98" fmla="*/ 339537 h 543299"/>
                  <a:gd name="connsiteX99" fmla="*/ 135774 w 509254"/>
                  <a:gd name="connsiteY99" fmla="*/ 339537 h 543299"/>
                  <a:gd name="connsiteX100" fmla="*/ 169819 w 509254"/>
                  <a:gd name="connsiteY100" fmla="*/ 339537 h 543299"/>
                  <a:gd name="connsiteX101" fmla="*/ 203763 w 509254"/>
                  <a:gd name="connsiteY101" fmla="*/ 339537 h 543299"/>
                  <a:gd name="connsiteX102" fmla="*/ 237706 w 509254"/>
                  <a:gd name="connsiteY102" fmla="*/ 339537 h 543299"/>
                  <a:gd name="connsiteX103" fmla="*/ 271650 w 509254"/>
                  <a:gd name="connsiteY103" fmla="*/ 339537 h 543299"/>
                  <a:gd name="connsiteX104" fmla="*/ 305593 w 509254"/>
                  <a:gd name="connsiteY104" fmla="*/ 339537 h 543299"/>
                  <a:gd name="connsiteX105" fmla="*/ 339537 w 509254"/>
                  <a:gd name="connsiteY105" fmla="*/ 339537 h 543299"/>
                  <a:gd name="connsiteX106" fmla="*/ 373481 w 509254"/>
                  <a:gd name="connsiteY106" fmla="*/ 339537 h 543299"/>
                  <a:gd name="connsiteX107" fmla="*/ 373481 w 509254"/>
                  <a:gd name="connsiteY107" fmla="*/ 373481 h 543299"/>
                  <a:gd name="connsiteX108" fmla="*/ 373481 w 509254"/>
                  <a:gd name="connsiteY108" fmla="*/ 407424 h 543299"/>
                  <a:gd name="connsiteX109" fmla="*/ 339537 w 509254"/>
                  <a:gd name="connsiteY109" fmla="*/ 407424 h 543299"/>
                  <a:gd name="connsiteX110" fmla="*/ 305593 w 509254"/>
                  <a:gd name="connsiteY110" fmla="*/ 407424 h 543299"/>
                  <a:gd name="connsiteX111" fmla="*/ 271650 w 509254"/>
                  <a:gd name="connsiteY111" fmla="*/ 407424 h 543299"/>
                  <a:gd name="connsiteX112" fmla="*/ 237706 w 509254"/>
                  <a:gd name="connsiteY112" fmla="*/ 407424 h 543299"/>
                  <a:gd name="connsiteX113" fmla="*/ 203763 w 509254"/>
                  <a:gd name="connsiteY113" fmla="*/ 407424 h 543299"/>
                  <a:gd name="connsiteX114" fmla="*/ 169819 w 509254"/>
                  <a:gd name="connsiteY114" fmla="*/ 407424 h 543299"/>
                  <a:gd name="connsiteX115" fmla="*/ 135875 w 509254"/>
                  <a:gd name="connsiteY115" fmla="*/ 407424 h 543299"/>
                  <a:gd name="connsiteX116" fmla="*/ 101932 w 509254"/>
                  <a:gd name="connsiteY116" fmla="*/ 407424 h 543299"/>
                  <a:gd name="connsiteX117" fmla="*/ 101932 w 509254"/>
                  <a:gd name="connsiteY117" fmla="*/ 373481 h 543299"/>
                  <a:gd name="connsiteX118" fmla="*/ 373683 w 509254"/>
                  <a:gd name="connsiteY118" fmla="*/ 102134 h 543299"/>
                  <a:gd name="connsiteX119" fmla="*/ 373683 w 509254"/>
                  <a:gd name="connsiteY119" fmla="*/ 102134 h 543299"/>
                  <a:gd name="connsiteX120" fmla="*/ 340244 w 509254"/>
                  <a:gd name="connsiteY120" fmla="*/ 102134 h 543299"/>
                  <a:gd name="connsiteX121" fmla="*/ 340244 w 509254"/>
                  <a:gd name="connsiteY121" fmla="*/ 136077 h 543299"/>
                  <a:gd name="connsiteX122" fmla="*/ 340244 w 509254"/>
                  <a:gd name="connsiteY122" fmla="*/ 170021 h 543299"/>
                  <a:gd name="connsiteX123" fmla="*/ 340244 w 509254"/>
                  <a:gd name="connsiteY123" fmla="*/ 203965 h 543299"/>
                  <a:gd name="connsiteX124" fmla="*/ 340244 w 509254"/>
                  <a:gd name="connsiteY124" fmla="*/ 237403 h 543299"/>
                  <a:gd name="connsiteX125" fmla="*/ 339739 w 509254"/>
                  <a:gd name="connsiteY125" fmla="*/ 237403 h 543299"/>
                  <a:gd name="connsiteX126" fmla="*/ 339739 w 509254"/>
                  <a:gd name="connsiteY126" fmla="*/ 203561 h 543299"/>
                  <a:gd name="connsiteX127" fmla="*/ 339739 w 509254"/>
                  <a:gd name="connsiteY127" fmla="*/ 169617 h 543299"/>
                  <a:gd name="connsiteX128" fmla="*/ 339739 w 509254"/>
                  <a:gd name="connsiteY128" fmla="*/ 135673 h 543299"/>
                  <a:gd name="connsiteX129" fmla="*/ 339739 w 509254"/>
                  <a:gd name="connsiteY129" fmla="*/ 101730 h 543299"/>
                  <a:gd name="connsiteX130" fmla="*/ 373683 w 509254"/>
                  <a:gd name="connsiteY130" fmla="*/ 102134 h 543299"/>
                  <a:gd name="connsiteX131" fmla="*/ 67887 w 509254"/>
                  <a:gd name="connsiteY131" fmla="*/ 407020 h 543299"/>
                  <a:gd name="connsiteX132" fmla="*/ 67887 w 509254"/>
                  <a:gd name="connsiteY132" fmla="*/ 407525 h 543299"/>
                  <a:gd name="connsiteX133" fmla="*/ 34449 w 509254"/>
                  <a:gd name="connsiteY133" fmla="*/ 407525 h 543299"/>
                  <a:gd name="connsiteX134" fmla="*/ 34449 w 509254"/>
                  <a:gd name="connsiteY134" fmla="*/ 407020 h 543299"/>
                  <a:gd name="connsiteX135" fmla="*/ 67887 w 509254"/>
                  <a:gd name="connsiteY135" fmla="*/ 407020 h 54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09254" h="543299">
                    <a:moveTo>
                      <a:pt x="475715" y="271549"/>
                    </a:moveTo>
                    <a:lnTo>
                      <a:pt x="475715" y="237605"/>
                    </a:lnTo>
                    <a:lnTo>
                      <a:pt x="441772" y="237605"/>
                    </a:lnTo>
                    <a:lnTo>
                      <a:pt x="407828" y="237605"/>
                    </a:lnTo>
                    <a:lnTo>
                      <a:pt x="374390" y="237605"/>
                    </a:lnTo>
                    <a:lnTo>
                      <a:pt x="374390" y="204167"/>
                    </a:lnTo>
                    <a:lnTo>
                      <a:pt x="374390" y="170223"/>
                    </a:lnTo>
                    <a:lnTo>
                      <a:pt x="374390" y="169718"/>
                    </a:lnTo>
                    <a:lnTo>
                      <a:pt x="407828" y="169718"/>
                    </a:lnTo>
                    <a:lnTo>
                      <a:pt x="407828" y="135774"/>
                    </a:lnTo>
                    <a:lnTo>
                      <a:pt x="407828" y="101831"/>
                    </a:lnTo>
                    <a:lnTo>
                      <a:pt x="374289" y="101831"/>
                    </a:lnTo>
                    <a:lnTo>
                      <a:pt x="373784" y="67887"/>
                    </a:lnTo>
                    <a:lnTo>
                      <a:pt x="339840" y="67887"/>
                    </a:lnTo>
                    <a:lnTo>
                      <a:pt x="339840" y="33944"/>
                    </a:lnTo>
                    <a:lnTo>
                      <a:pt x="305896" y="33944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69819" y="0"/>
                    </a:lnTo>
                    <a:lnTo>
                      <a:pt x="135875" y="0"/>
                    </a:lnTo>
                    <a:lnTo>
                      <a:pt x="101932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34045" y="33944"/>
                    </a:lnTo>
                    <a:lnTo>
                      <a:pt x="34550" y="33944"/>
                    </a:lnTo>
                    <a:lnTo>
                      <a:pt x="34550" y="67180"/>
                    </a:lnTo>
                    <a:lnTo>
                      <a:pt x="34550" y="101124"/>
                    </a:lnTo>
                    <a:lnTo>
                      <a:pt x="34045" y="101124"/>
                    </a:lnTo>
                    <a:lnTo>
                      <a:pt x="34449" y="67180"/>
                    </a:lnTo>
                    <a:lnTo>
                      <a:pt x="33944" y="67180"/>
                    </a:lnTo>
                    <a:lnTo>
                      <a:pt x="33944" y="33742"/>
                    </a:lnTo>
                    <a:lnTo>
                      <a:pt x="0" y="33742"/>
                    </a:lnTo>
                    <a:lnTo>
                      <a:pt x="0" y="67685"/>
                    </a:lnTo>
                    <a:lnTo>
                      <a:pt x="505" y="67685"/>
                    </a:lnTo>
                    <a:lnTo>
                      <a:pt x="505" y="101124"/>
                    </a:lnTo>
                    <a:lnTo>
                      <a:pt x="505" y="135067"/>
                    </a:lnTo>
                    <a:lnTo>
                      <a:pt x="505" y="169011"/>
                    </a:lnTo>
                    <a:lnTo>
                      <a:pt x="505" y="202954"/>
                    </a:lnTo>
                    <a:lnTo>
                      <a:pt x="505" y="236898"/>
                    </a:lnTo>
                    <a:lnTo>
                      <a:pt x="505" y="270842"/>
                    </a:lnTo>
                    <a:lnTo>
                      <a:pt x="505" y="304785"/>
                    </a:lnTo>
                    <a:lnTo>
                      <a:pt x="34449" y="304785"/>
                    </a:lnTo>
                    <a:lnTo>
                      <a:pt x="34449" y="338729"/>
                    </a:lnTo>
                    <a:lnTo>
                      <a:pt x="33944" y="338729"/>
                    </a:lnTo>
                    <a:lnTo>
                      <a:pt x="33944" y="305290"/>
                    </a:lnTo>
                    <a:lnTo>
                      <a:pt x="505" y="304785"/>
                    </a:lnTo>
                    <a:lnTo>
                      <a:pt x="505" y="338729"/>
                    </a:lnTo>
                    <a:lnTo>
                      <a:pt x="505" y="372672"/>
                    </a:lnTo>
                    <a:lnTo>
                      <a:pt x="505" y="406616"/>
                    </a:lnTo>
                    <a:lnTo>
                      <a:pt x="505" y="440964"/>
                    </a:lnTo>
                    <a:lnTo>
                      <a:pt x="33944" y="440964"/>
                    </a:lnTo>
                    <a:lnTo>
                      <a:pt x="33944" y="441469"/>
                    </a:lnTo>
                    <a:lnTo>
                      <a:pt x="0" y="441469"/>
                    </a:lnTo>
                    <a:lnTo>
                      <a:pt x="0" y="475412"/>
                    </a:lnTo>
                    <a:lnTo>
                      <a:pt x="33944" y="475412"/>
                    </a:lnTo>
                    <a:lnTo>
                      <a:pt x="33944" y="509356"/>
                    </a:lnTo>
                    <a:lnTo>
                      <a:pt x="67887" y="509356"/>
                    </a:lnTo>
                    <a:lnTo>
                      <a:pt x="67887" y="543300"/>
                    </a:lnTo>
                    <a:lnTo>
                      <a:pt x="101831" y="543300"/>
                    </a:lnTo>
                    <a:lnTo>
                      <a:pt x="135774" y="543300"/>
                    </a:lnTo>
                    <a:lnTo>
                      <a:pt x="169819" y="543300"/>
                    </a:lnTo>
                    <a:lnTo>
                      <a:pt x="203763" y="543300"/>
                    </a:lnTo>
                    <a:lnTo>
                      <a:pt x="237706" y="543300"/>
                    </a:lnTo>
                    <a:lnTo>
                      <a:pt x="271650" y="543300"/>
                    </a:lnTo>
                    <a:lnTo>
                      <a:pt x="305593" y="543300"/>
                    </a:lnTo>
                    <a:lnTo>
                      <a:pt x="339537" y="543300"/>
                    </a:lnTo>
                    <a:lnTo>
                      <a:pt x="373481" y="543300"/>
                    </a:lnTo>
                    <a:lnTo>
                      <a:pt x="373481" y="509356"/>
                    </a:lnTo>
                    <a:lnTo>
                      <a:pt x="407424" y="509356"/>
                    </a:lnTo>
                    <a:lnTo>
                      <a:pt x="441368" y="509356"/>
                    </a:lnTo>
                    <a:lnTo>
                      <a:pt x="441368" y="475412"/>
                    </a:lnTo>
                    <a:lnTo>
                      <a:pt x="475311" y="475412"/>
                    </a:lnTo>
                    <a:lnTo>
                      <a:pt x="475311" y="441469"/>
                    </a:lnTo>
                    <a:lnTo>
                      <a:pt x="509255" y="441469"/>
                    </a:lnTo>
                    <a:lnTo>
                      <a:pt x="509255" y="407525"/>
                    </a:lnTo>
                    <a:lnTo>
                      <a:pt x="509255" y="373582"/>
                    </a:lnTo>
                    <a:lnTo>
                      <a:pt x="509255" y="339638"/>
                    </a:lnTo>
                    <a:lnTo>
                      <a:pt x="509255" y="305694"/>
                    </a:lnTo>
                    <a:lnTo>
                      <a:pt x="509255" y="271751"/>
                    </a:lnTo>
                    <a:lnTo>
                      <a:pt x="475715" y="271751"/>
                    </a:lnTo>
                    <a:close/>
                    <a:moveTo>
                      <a:pt x="135875" y="135572"/>
                    </a:moveTo>
                    <a:lnTo>
                      <a:pt x="169819" y="135572"/>
                    </a:lnTo>
                    <a:lnTo>
                      <a:pt x="203763" y="135572"/>
                    </a:lnTo>
                    <a:lnTo>
                      <a:pt x="237706" y="135572"/>
                    </a:lnTo>
                    <a:lnTo>
                      <a:pt x="271650" y="135572"/>
                    </a:lnTo>
                    <a:lnTo>
                      <a:pt x="271650" y="169516"/>
                    </a:lnTo>
                    <a:lnTo>
                      <a:pt x="271650" y="203561"/>
                    </a:lnTo>
                    <a:lnTo>
                      <a:pt x="237706" y="203561"/>
                    </a:lnTo>
                    <a:lnTo>
                      <a:pt x="203763" y="203561"/>
                    </a:lnTo>
                    <a:lnTo>
                      <a:pt x="169819" y="203561"/>
                    </a:lnTo>
                    <a:lnTo>
                      <a:pt x="135875" y="203561"/>
                    </a:lnTo>
                    <a:lnTo>
                      <a:pt x="101932" y="203561"/>
                    </a:lnTo>
                    <a:lnTo>
                      <a:pt x="101932" y="169617"/>
                    </a:lnTo>
                    <a:lnTo>
                      <a:pt x="101932" y="135673"/>
                    </a:lnTo>
                    <a:lnTo>
                      <a:pt x="135875" y="135673"/>
                    </a:lnTo>
                    <a:close/>
                    <a:moveTo>
                      <a:pt x="101831" y="373481"/>
                    </a:moveTo>
                    <a:lnTo>
                      <a:pt x="101831" y="339537"/>
                    </a:lnTo>
                    <a:lnTo>
                      <a:pt x="135774" y="339537"/>
                    </a:lnTo>
                    <a:lnTo>
                      <a:pt x="169819" y="339537"/>
                    </a:lnTo>
                    <a:lnTo>
                      <a:pt x="203763" y="339537"/>
                    </a:lnTo>
                    <a:lnTo>
                      <a:pt x="237706" y="339537"/>
                    </a:lnTo>
                    <a:lnTo>
                      <a:pt x="271650" y="339537"/>
                    </a:lnTo>
                    <a:lnTo>
                      <a:pt x="305593" y="339537"/>
                    </a:lnTo>
                    <a:lnTo>
                      <a:pt x="339537" y="339537"/>
                    </a:lnTo>
                    <a:lnTo>
                      <a:pt x="373481" y="339537"/>
                    </a:lnTo>
                    <a:lnTo>
                      <a:pt x="373481" y="373481"/>
                    </a:lnTo>
                    <a:lnTo>
                      <a:pt x="373481" y="407424"/>
                    </a:lnTo>
                    <a:lnTo>
                      <a:pt x="339537" y="407424"/>
                    </a:lnTo>
                    <a:lnTo>
                      <a:pt x="305593" y="407424"/>
                    </a:lnTo>
                    <a:lnTo>
                      <a:pt x="271650" y="407424"/>
                    </a:lnTo>
                    <a:lnTo>
                      <a:pt x="237706" y="407424"/>
                    </a:lnTo>
                    <a:lnTo>
                      <a:pt x="203763" y="407424"/>
                    </a:lnTo>
                    <a:lnTo>
                      <a:pt x="169819" y="407424"/>
                    </a:lnTo>
                    <a:lnTo>
                      <a:pt x="135875" y="407424"/>
                    </a:lnTo>
                    <a:lnTo>
                      <a:pt x="101932" y="407424"/>
                    </a:lnTo>
                    <a:lnTo>
                      <a:pt x="101932" y="373481"/>
                    </a:lnTo>
                    <a:close/>
                    <a:moveTo>
                      <a:pt x="373683" y="102134"/>
                    </a:moveTo>
                    <a:lnTo>
                      <a:pt x="373683" y="102134"/>
                    </a:lnTo>
                    <a:lnTo>
                      <a:pt x="340244" y="102134"/>
                    </a:lnTo>
                    <a:lnTo>
                      <a:pt x="340244" y="136077"/>
                    </a:lnTo>
                    <a:lnTo>
                      <a:pt x="340244" y="170021"/>
                    </a:lnTo>
                    <a:lnTo>
                      <a:pt x="340244" y="203965"/>
                    </a:lnTo>
                    <a:lnTo>
                      <a:pt x="340244" y="237403"/>
                    </a:lnTo>
                    <a:lnTo>
                      <a:pt x="339739" y="237403"/>
                    </a:lnTo>
                    <a:lnTo>
                      <a:pt x="339739" y="203561"/>
                    </a:lnTo>
                    <a:lnTo>
                      <a:pt x="339739" y="169617"/>
                    </a:lnTo>
                    <a:lnTo>
                      <a:pt x="339739" y="135673"/>
                    </a:lnTo>
                    <a:lnTo>
                      <a:pt x="339739" y="101730"/>
                    </a:lnTo>
                    <a:lnTo>
                      <a:pt x="373683" y="102134"/>
                    </a:lnTo>
                    <a:close/>
                    <a:moveTo>
                      <a:pt x="67887" y="407020"/>
                    </a:moveTo>
                    <a:lnTo>
                      <a:pt x="67887" y="407525"/>
                    </a:lnTo>
                    <a:lnTo>
                      <a:pt x="34449" y="407525"/>
                    </a:lnTo>
                    <a:lnTo>
                      <a:pt x="34449" y="407020"/>
                    </a:lnTo>
                    <a:lnTo>
                      <a:pt x="67887" y="407020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A9C0A4E3-5C09-555A-C485-4048E5A8FD0A}"/>
                  </a:ext>
                </a:extLst>
              </p:cNvPr>
              <p:cNvSpPr/>
              <p:nvPr/>
            </p:nvSpPr>
            <p:spPr>
              <a:xfrm>
                <a:off x="-3646081" y="3595054"/>
                <a:ext cx="33943" cy="373783"/>
              </a:xfrm>
              <a:custGeom>
                <a:avLst/>
                <a:gdLst>
                  <a:gd name="connsiteX0" fmla="*/ 33944 w 33943"/>
                  <a:gd name="connsiteY0" fmla="*/ 339739 h 373783"/>
                  <a:gd name="connsiteX1" fmla="*/ 33944 w 33943"/>
                  <a:gd name="connsiteY1" fmla="*/ 305795 h 373783"/>
                  <a:gd name="connsiteX2" fmla="*/ 33944 w 33943"/>
                  <a:gd name="connsiteY2" fmla="*/ 271852 h 373783"/>
                  <a:gd name="connsiteX3" fmla="*/ 33944 w 33943"/>
                  <a:gd name="connsiteY3" fmla="*/ 237807 h 373783"/>
                  <a:gd name="connsiteX4" fmla="*/ 33944 w 33943"/>
                  <a:gd name="connsiteY4" fmla="*/ 203864 h 373783"/>
                  <a:gd name="connsiteX5" fmla="*/ 33944 w 33943"/>
                  <a:gd name="connsiteY5" fmla="*/ 169920 h 373783"/>
                  <a:gd name="connsiteX6" fmla="*/ 33944 w 33943"/>
                  <a:gd name="connsiteY6" fmla="*/ 135875 h 373783"/>
                  <a:gd name="connsiteX7" fmla="*/ 33944 w 33943"/>
                  <a:gd name="connsiteY7" fmla="*/ 101932 h 373783"/>
                  <a:gd name="connsiteX8" fmla="*/ 33944 w 33943"/>
                  <a:gd name="connsiteY8" fmla="*/ 67887 h 373783"/>
                  <a:gd name="connsiteX9" fmla="*/ 33944 w 33943"/>
                  <a:gd name="connsiteY9" fmla="*/ 33944 h 373783"/>
                  <a:gd name="connsiteX10" fmla="*/ 33944 w 33943"/>
                  <a:gd name="connsiteY10" fmla="*/ 0 h 373783"/>
                  <a:gd name="connsiteX11" fmla="*/ 0 w 33943"/>
                  <a:gd name="connsiteY11" fmla="*/ 0 h 373783"/>
                  <a:gd name="connsiteX12" fmla="*/ 0 w 33943"/>
                  <a:gd name="connsiteY12" fmla="*/ 33944 h 373783"/>
                  <a:gd name="connsiteX13" fmla="*/ 0 w 33943"/>
                  <a:gd name="connsiteY13" fmla="*/ 67887 h 373783"/>
                  <a:gd name="connsiteX14" fmla="*/ 0 w 33943"/>
                  <a:gd name="connsiteY14" fmla="*/ 101932 h 373783"/>
                  <a:gd name="connsiteX15" fmla="*/ 0 w 33943"/>
                  <a:gd name="connsiteY15" fmla="*/ 135875 h 373783"/>
                  <a:gd name="connsiteX16" fmla="*/ 0 w 33943"/>
                  <a:gd name="connsiteY16" fmla="*/ 169920 h 373783"/>
                  <a:gd name="connsiteX17" fmla="*/ 0 w 33943"/>
                  <a:gd name="connsiteY17" fmla="*/ 203864 h 373783"/>
                  <a:gd name="connsiteX18" fmla="*/ 0 w 33943"/>
                  <a:gd name="connsiteY18" fmla="*/ 237807 h 373783"/>
                  <a:gd name="connsiteX19" fmla="*/ 0 w 33943"/>
                  <a:gd name="connsiteY19" fmla="*/ 271852 h 373783"/>
                  <a:gd name="connsiteX20" fmla="*/ 0 w 33943"/>
                  <a:gd name="connsiteY20" fmla="*/ 305795 h 373783"/>
                  <a:gd name="connsiteX21" fmla="*/ 0 w 33943"/>
                  <a:gd name="connsiteY21" fmla="*/ 339739 h 373783"/>
                  <a:gd name="connsiteX22" fmla="*/ 0 w 33943"/>
                  <a:gd name="connsiteY22" fmla="*/ 339739 h 373783"/>
                  <a:gd name="connsiteX23" fmla="*/ 0 w 33943"/>
                  <a:gd name="connsiteY23" fmla="*/ 373784 h 373783"/>
                  <a:gd name="connsiteX24" fmla="*/ 33944 w 33943"/>
                  <a:gd name="connsiteY24" fmla="*/ 373784 h 373783"/>
                  <a:gd name="connsiteX25" fmla="*/ 33944 w 33943"/>
                  <a:gd name="connsiteY25" fmla="*/ 339739 h 37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3943" h="373783">
                    <a:moveTo>
                      <a:pt x="33944" y="339739"/>
                    </a:moveTo>
                    <a:lnTo>
                      <a:pt x="33944" y="305795"/>
                    </a:lnTo>
                    <a:lnTo>
                      <a:pt x="33944" y="271852"/>
                    </a:lnTo>
                    <a:lnTo>
                      <a:pt x="33944" y="237807"/>
                    </a:lnTo>
                    <a:lnTo>
                      <a:pt x="33944" y="203864"/>
                    </a:lnTo>
                    <a:lnTo>
                      <a:pt x="33944" y="169920"/>
                    </a:lnTo>
                    <a:lnTo>
                      <a:pt x="33944" y="135875"/>
                    </a:lnTo>
                    <a:lnTo>
                      <a:pt x="33944" y="101932"/>
                    </a:lnTo>
                    <a:lnTo>
                      <a:pt x="33944" y="67887"/>
                    </a:lnTo>
                    <a:lnTo>
                      <a:pt x="33944" y="33944"/>
                    </a:lnTo>
                    <a:lnTo>
                      <a:pt x="33944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0" y="101932"/>
                    </a:lnTo>
                    <a:lnTo>
                      <a:pt x="0" y="135875"/>
                    </a:lnTo>
                    <a:lnTo>
                      <a:pt x="0" y="169920"/>
                    </a:lnTo>
                    <a:lnTo>
                      <a:pt x="0" y="203864"/>
                    </a:lnTo>
                    <a:lnTo>
                      <a:pt x="0" y="237807"/>
                    </a:lnTo>
                    <a:lnTo>
                      <a:pt x="0" y="271852"/>
                    </a:lnTo>
                    <a:lnTo>
                      <a:pt x="0" y="305795"/>
                    </a:lnTo>
                    <a:lnTo>
                      <a:pt x="0" y="339739"/>
                    </a:lnTo>
                    <a:lnTo>
                      <a:pt x="0" y="339739"/>
                    </a:lnTo>
                    <a:lnTo>
                      <a:pt x="0" y="373784"/>
                    </a:lnTo>
                    <a:lnTo>
                      <a:pt x="33944" y="373784"/>
                    </a:lnTo>
                    <a:lnTo>
                      <a:pt x="33944" y="339739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aphic 34">
              <a:extLst>
                <a:ext uri="{FF2B5EF4-FFF2-40B4-BE49-F238E27FC236}">
                  <a16:creationId xmlns:a16="http://schemas.microsoft.com/office/drawing/2014/main" id="{D0537A92-E2A3-87E8-0E46-CAD403EEBB82}"/>
                </a:ext>
              </a:extLst>
            </p:cNvPr>
            <p:cNvGrpSpPr/>
            <p:nvPr/>
          </p:nvGrpSpPr>
          <p:grpSpPr>
            <a:xfrm>
              <a:off x="-3816001" y="3357146"/>
              <a:ext cx="849600" cy="849600"/>
              <a:chOff x="-3816001" y="3357146"/>
              <a:chExt cx="849600" cy="849600"/>
            </a:xfrm>
            <a:solidFill>
              <a:srgbClr val="000000"/>
            </a:solidFill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11289B99-E8EB-096B-358E-A13E54BE20C7}"/>
                  </a:ext>
                </a:extLst>
              </p:cNvPr>
              <p:cNvSpPr/>
              <p:nvPr/>
            </p:nvSpPr>
            <p:spPr>
              <a:xfrm>
                <a:off x="-3816001" y="3357146"/>
                <a:ext cx="849600" cy="849600"/>
              </a:xfrm>
              <a:custGeom>
                <a:avLst/>
                <a:gdLst>
                  <a:gd name="connsiteX0" fmla="*/ 815555 w 849600"/>
                  <a:gd name="connsiteY0" fmla="*/ 101932 h 849600"/>
                  <a:gd name="connsiteX1" fmla="*/ 815555 w 849600"/>
                  <a:gd name="connsiteY1" fmla="*/ 67988 h 849600"/>
                  <a:gd name="connsiteX2" fmla="*/ 781612 w 849600"/>
                  <a:gd name="connsiteY2" fmla="*/ 67988 h 849600"/>
                  <a:gd name="connsiteX3" fmla="*/ 781612 w 849600"/>
                  <a:gd name="connsiteY3" fmla="*/ 33944 h 849600"/>
                  <a:gd name="connsiteX4" fmla="*/ 747567 w 849600"/>
                  <a:gd name="connsiteY4" fmla="*/ 33944 h 849600"/>
                  <a:gd name="connsiteX5" fmla="*/ 747567 w 849600"/>
                  <a:gd name="connsiteY5" fmla="*/ 0 h 849600"/>
                  <a:gd name="connsiteX6" fmla="*/ 713624 w 849600"/>
                  <a:gd name="connsiteY6" fmla="*/ 0 h 849600"/>
                  <a:gd name="connsiteX7" fmla="*/ 679680 w 849600"/>
                  <a:gd name="connsiteY7" fmla="*/ 0 h 849600"/>
                  <a:gd name="connsiteX8" fmla="*/ 645736 w 849600"/>
                  <a:gd name="connsiteY8" fmla="*/ 0 h 849600"/>
                  <a:gd name="connsiteX9" fmla="*/ 611793 w 849600"/>
                  <a:gd name="connsiteY9" fmla="*/ 0 h 849600"/>
                  <a:gd name="connsiteX10" fmla="*/ 577849 w 849600"/>
                  <a:gd name="connsiteY10" fmla="*/ 0 h 849600"/>
                  <a:gd name="connsiteX11" fmla="*/ 543906 w 849600"/>
                  <a:gd name="connsiteY11" fmla="*/ 0 h 849600"/>
                  <a:gd name="connsiteX12" fmla="*/ 509962 w 849600"/>
                  <a:gd name="connsiteY12" fmla="*/ 0 h 849600"/>
                  <a:gd name="connsiteX13" fmla="*/ 476018 w 849600"/>
                  <a:gd name="connsiteY13" fmla="*/ 0 h 849600"/>
                  <a:gd name="connsiteX14" fmla="*/ 442075 w 849600"/>
                  <a:gd name="connsiteY14" fmla="*/ 0 h 849600"/>
                  <a:gd name="connsiteX15" fmla="*/ 408131 w 849600"/>
                  <a:gd name="connsiteY15" fmla="*/ 0 h 849600"/>
                  <a:gd name="connsiteX16" fmla="*/ 373784 w 849600"/>
                  <a:gd name="connsiteY16" fmla="*/ 0 h 849600"/>
                  <a:gd name="connsiteX17" fmla="*/ 339840 w 849600"/>
                  <a:gd name="connsiteY17" fmla="*/ 0 h 849600"/>
                  <a:gd name="connsiteX18" fmla="*/ 305896 w 849600"/>
                  <a:gd name="connsiteY18" fmla="*/ 0 h 849600"/>
                  <a:gd name="connsiteX19" fmla="*/ 271953 w 849600"/>
                  <a:gd name="connsiteY19" fmla="*/ 0 h 849600"/>
                  <a:gd name="connsiteX20" fmla="*/ 238009 w 849600"/>
                  <a:gd name="connsiteY20" fmla="*/ 0 h 849600"/>
                  <a:gd name="connsiteX21" fmla="*/ 204066 w 849600"/>
                  <a:gd name="connsiteY21" fmla="*/ 0 h 849600"/>
                  <a:gd name="connsiteX22" fmla="*/ 170122 w 849600"/>
                  <a:gd name="connsiteY22" fmla="*/ 0 h 849600"/>
                  <a:gd name="connsiteX23" fmla="*/ 136178 w 849600"/>
                  <a:gd name="connsiteY23" fmla="*/ 0 h 849600"/>
                  <a:gd name="connsiteX24" fmla="*/ 102235 w 849600"/>
                  <a:gd name="connsiteY24" fmla="*/ 0 h 849600"/>
                  <a:gd name="connsiteX25" fmla="*/ 102235 w 849600"/>
                  <a:gd name="connsiteY25" fmla="*/ 33944 h 849600"/>
                  <a:gd name="connsiteX26" fmla="*/ 67988 w 849600"/>
                  <a:gd name="connsiteY26" fmla="*/ 33944 h 849600"/>
                  <a:gd name="connsiteX27" fmla="*/ 67988 w 849600"/>
                  <a:gd name="connsiteY27" fmla="*/ 67887 h 849600"/>
                  <a:gd name="connsiteX28" fmla="*/ 33944 w 849600"/>
                  <a:gd name="connsiteY28" fmla="*/ 67887 h 849600"/>
                  <a:gd name="connsiteX29" fmla="*/ 33944 w 849600"/>
                  <a:gd name="connsiteY29" fmla="*/ 101831 h 849600"/>
                  <a:gd name="connsiteX30" fmla="*/ 0 w 849600"/>
                  <a:gd name="connsiteY30" fmla="*/ 101831 h 849600"/>
                  <a:gd name="connsiteX31" fmla="*/ 0 w 849600"/>
                  <a:gd name="connsiteY31" fmla="*/ 135774 h 849600"/>
                  <a:gd name="connsiteX32" fmla="*/ 0 w 849600"/>
                  <a:gd name="connsiteY32" fmla="*/ 169718 h 849600"/>
                  <a:gd name="connsiteX33" fmla="*/ 0 w 849600"/>
                  <a:gd name="connsiteY33" fmla="*/ 203662 h 849600"/>
                  <a:gd name="connsiteX34" fmla="*/ 0 w 849600"/>
                  <a:gd name="connsiteY34" fmla="*/ 237605 h 849600"/>
                  <a:gd name="connsiteX35" fmla="*/ 0 w 849600"/>
                  <a:gd name="connsiteY35" fmla="*/ 271549 h 849600"/>
                  <a:gd name="connsiteX36" fmla="*/ 0 w 849600"/>
                  <a:gd name="connsiteY36" fmla="*/ 305492 h 849600"/>
                  <a:gd name="connsiteX37" fmla="*/ 0 w 849600"/>
                  <a:gd name="connsiteY37" fmla="*/ 339436 h 849600"/>
                  <a:gd name="connsiteX38" fmla="*/ 0 w 849600"/>
                  <a:gd name="connsiteY38" fmla="*/ 373784 h 849600"/>
                  <a:gd name="connsiteX39" fmla="*/ 0 w 849600"/>
                  <a:gd name="connsiteY39" fmla="*/ 407727 h 849600"/>
                  <a:gd name="connsiteX40" fmla="*/ 0 w 849600"/>
                  <a:gd name="connsiteY40" fmla="*/ 441671 h 849600"/>
                  <a:gd name="connsiteX41" fmla="*/ 0 w 849600"/>
                  <a:gd name="connsiteY41" fmla="*/ 475614 h 849600"/>
                  <a:gd name="connsiteX42" fmla="*/ 0 w 849600"/>
                  <a:gd name="connsiteY42" fmla="*/ 509558 h 849600"/>
                  <a:gd name="connsiteX43" fmla="*/ 0 w 849600"/>
                  <a:gd name="connsiteY43" fmla="*/ 543502 h 849600"/>
                  <a:gd name="connsiteX44" fmla="*/ 0 w 849600"/>
                  <a:gd name="connsiteY44" fmla="*/ 577445 h 849600"/>
                  <a:gd name="connsiteX45" fmla="*/ 0 w 849600"/>
                  <a:gd name="connsiteY45" fmla="*/ 611389 h 849600"/>
                  <a:gd name="connsiteX46" fmla="*/ 0 w 849600"/>
                  <a:gd name="connsiteY46" fmla="*/ 645332 h 849600"/>
                  <a:gd name="connsiteX47" fmla="*/ 0 w 849600"/>
                  <a:gd name="connsiteY47" fmla="*/ 679276 h 849600"/>
                  <a:gd name="connsiteX48" fmla="*/ 0 w 849600"/>
                  <a:gd name="connsiteY48" fmla="*/ 713220 h 849600"/>
                  <a:gd name="connsiteX49" fmla="*/ 0 w 849600"/>
                  <a:gd name="connsiteY49" fmla="*/ 747567 h 849600"/>
                  <a:gd name="connsiteX50" fmla="*/ 33944 w 849600"/>
                  <a:gd name="connsiteY50" fmla="*/ 747567 h 849600"/>
                  <a:gd name="connsiteX51" fmla="*/ 33944 w 849600"/>
                  <a:gd name="connsiteY51" fmla="*/ 781511 h 849600"/>
                  <a:gd name="connsiteX52" fmla="*/ 67887 w 849600"/>
                  <a:gd name="connsiteY52" fmla="*/ 781511 h 849600"/>
                  <a:gd name="connsiteX53" fmla="*/ 67887 w 849600"/>
                  <a:gd name="connsiteY53" fmla="*/ 815454 h 849600"/>
                  <a:gd name="connsiteX54" fmla="*/ 101831 w 849600"/>
                  <a:gd name="connsiteY54" fmla="*/ 815454 h 849600"/>
                  <a:gd name="connsiteX55" fmla="*/ 101831 w 849600"/>
                  <a:gd name="connsiteY55" fmla="*/ 849600 h 849600"/>
                  <a:gd name="connsiteX56" fmla="*/ 135774 w 849600"/>
                  <a:gd name="connsiteY56" fmla="*/ 849600 h 849600"/>
                  <a:gd name="connsiteX57" fmla="*/ 169718 w 849600"/>
                  <a:gd name="connsiteY57" fmla="*/ 849600 h 849600"/>
                  <a:gd name="connsiteX58" fmla="*/ 203662 w 849600"/>
                  <a:gd name="connsiteY58" fmla="*/ 849600 h 849600"/>
                  <a:gd name="connsiteX59" fmla="*/ 237605 w 849600"/>
                  <a:gd name="connsiteY59" fmla="*/ 849600 h 849600"/>
                  <a:gd name="connsiteX60" fmla="*/ 271549 w 849600"/>
                  <a:gd name="connsiteY60" fmla="*/ 849600 h 849600"/>
                  <a:gd name="connsiteX61" fmla="*/ 305492 w 849600"/>
                  <a:gd name="connsiteY61" fmla="*/ 849600 h 849600"/>
                  <a:gd name="connsiteX62" fmla="*/ 339436 w 849600"/>
                  <a:gd name="connsiteY62" fmla="*/ 849600 h 849600"/>
                  <a:gd name="connsiteX63" fmla="*/ 373784 w 849600"/>
                  <a:gd name="connsiteY63" fmla="*/ 849600 h 849600"/>
                  <a:gd name="connsiteX64" fmla="*/ 407727 w 849600"/>
                  <a:gd name="connsiteY64" fmla="*/ 849600 h 849600"/>
                  <a:gd name="connsiteX65" fmla="*/ 441671 w 849600"/>
                  <a:gd name="connsiteY65" fmla="*/ 849600 h 849600"/>
                  <a:gd name="connsiteX66" fmla="*/ 475614 w 849600"/>
                  <a:gd name="connsiteY66" fmla="*/ 849600 h 849600"/>
                  <a:gd name="connsiteX67" fmla="*/ 509558 w 849600"/>
                  <a:gd name="connsiteY67" fmla="*/ 849600 h 849600"/>
                  <a:gd name="connsiteX68" fmla="*/ 543502 w 849600"/>
                  <a:gd name="connsiteY68" fmla="*/ 849600 h 849600"/>
                  <a:gd name="connsiteX69" fmla="*/ 577445 w 849600"/>
                  <a:gd name="connsiteY69" fmla="*/ 849600 h 849600"/>
                  <a:gd name="connsiteX70" fmla="*/ 611389 w 849600"/>
                  <a:gd name="connsiteY70" fmla="*/ 849600 h 849600"/>
                  <a:gd name="connsiteX71" fmla="*/ 645332 w 849600"/>
                  <a:gd name="connsiteY71" fmla="*/ 849600 h 849600"/>
                  <a:gd name="connsiteX72" fmla="*/ 679276 w 849600"/>
                  <a:gd name="connsiteY72" fmla="*/ 849600 h 849600"/>
                  <a:gd name="connsiteX73" fmla="*/ 713220 w 849600"/>
                  <a:gd name="connsiteY73" fmla="*/ 849600 h 849600"/>
                  <a:gd name="connsiteX74" fmla="*/ 747567 w 849600"/>
                  <a:gd name="connsiteY74" fmla="*/ 849600 h 849600"/>
                  <a:gd name="connsiteX75" fmla="*/ 747567 w 849600"/>
                  <a:gd name="connsiteY75" fmla="*/ 815656 h 849600"/>
                  <a:gd name="connsiteX76" fmla="*/ 781511 w 849600"/>
                  <a:gd name="connsiteY76" fmla="*/ 815656 h 849600"/>
                  <a:gd name="connsiteX77" fmla="*/ 781511 w 849600"/>
                  <a:gd name="connsiteY77" fmla="*/ 781713 h 849600"/>
                  <a:gd name="connsiteX78" fmla="*/ 815454 w 849600"/>
                  <a:gd name="connsiteY78" fmla="*/ 781713 h 849600"/>
                  <a:gd name="connsiteX79" fmla="*/ 815454 w 849600"/>
                  <a:gd name="connsiteY79" fmla="*/ 747567 h 849600"/>
                  <a:gd name="connsiteX80" fmla="*/ 849600 w 849600"/>
                  <a:gd name="connsiteY80" fmla="*/ 747567 h 849600"/>
                  <a:gd name="connsiteX81" fmla="*/ 849600 w 849600"/>
                  <a:gd name="connsiteY81" fmla="*/ 713624 h 849600"/>
                  <a:gd name="connsiteX82" fmla="*/ 849600 w 849600"/>
                  <a:gd name="connsiteY82" fmla="*/ 679680 h 849600"/>
                  <a:gd name="connsiteX83" fmla="*/ 849600 w 849600"/>
                  <a:gd name="connsiteY83" fmla="*/ 645736 h 849600"/>
                  <a:gd name="connsiteX84" fmla="*/ 849600 w 849600"/>
                  <a:gd name="connsiteY84" fmla="*/ 611793 h 849600"/>
                  <a:gd name="connsiteX85" fmla="*/ 849600 w 849600"/>
                  <a:gd name="connsiteY85" fmla="*/ 577849 h 849600"/>
                  <a:gd name="connsiteX86" fmla="*/ 849600 w 849600"/>
                  <a:gd name="connsiteY86" fmla="*/ 543906 h 849600"/>
                  <a:gd name="connsiteX87" fmla="*/ 849600 w 849600"/>
                  <a:gd name="connsiteY87" fmla="*/ 509962 h 849600"/>
                  <a:gd name="connsiteX88" fmla="*/ 849600 w 849600"/>
                  <a:gd name="connsiteY88" fmla="*/ 476018 h 849600"/>
                  <a:gd name="connsiteX89" fmla="*/ 849600 w 849600"/>
                  <a:gd name="connsiteY89" fmla="*/ 442075 h 849600"/>
                  <a:gd name="connsiteX90" fmla="*/ 849600 w 849600"/>
                  <a:gd name="connsiteY90" fmla="*/ 408131 h 849600"/>
                  <a:gd name="connsiteX91" fmla="*/ 849600 w 849600"/>
                  <a:gd name="connsiteY91" fmla="*/ 373784 h 849600"/>
                  <a:gd name="connsiteX92" fmla="*/ 849600 w 849600"/>
                  <a:gd name="connsiteY92" fmla="*/ 339840 h 849600"/>
                  <a:gd name="connsiteX93" fmla="*/ 849600 w 849600"/>
                  <a:gd name="connsiteY93" fmla="*/ 305896 h 849600"/>
                  <a:gd name="connsiteX94" fmla="*/ 849600 w 849600"/>
                  <a:gd name="connsiteY94" fmla="*/ 271953 h 849600"/>
                  <a:gd name="connsiteX95" fmla="*/ 849600 w 849600"/>
                  <a:gd name="connsiteY95" fmla="*/ 238009 h 849600"/>
                  <a:gd name="connsiteX96" fmla="*/ 849600 w 849600"/>
                  <a:gd name="connsiteY96" fmla="*/ 204066 h 849600"/>
                  <a:gd name="connsiteX97" fmla="*/ 849600 w 849600"/>
                  <a:gd name="connsiteY97" fmla="*/ 170122 h 849600"/>
                  <a:gd name="connsiteX98" fmla="*/ 849600 w 849600"/>
                  <a:gd name="connsiteY98" fmla="*/ 136178 h 849600"/>
                  <a:gd name="connsiteX99" fmla="*/ 849600 w 849600"/>
                  <a:gd name="connsiteY99" fmla="*/ 102235 h 849600"/>
                  <a:gd name="connsiteX100" fmla="*/ 815555 w 849600"/>
                  <a:gd name="connsiteY100" fmla="*/ 102235 h 849600"/>
                  <a:gd name="connsiteX101" fmla="*/ 713624 w 849600"/>
                  <a:gd name="connsiteY101" fmla="*/ 475715 h 849600"/>
                  <a:gd name="connsiteX102" fmla="*/ 713624 w 849600"/>
                  <a:gd name="connsiteY102" fmla="*/ 509659 h 849600"/>
                  <a:gd name="connsiteX103" fmla="*/ 713624 w 849600"/>
                  <a:gd name="connsiteY103" fmla="*/ 543603 h 849600"/>
                  <a:gd name="connsiteX104" fmla="*/ 713624 w 849600"/>
                  <a:gd name="connsiteY104" fmla="*/ 577546 h 849600"/>
                  <a:gd name="connsiteX105" fmla="*/ 713624 w 849600"/>
                  <a:gd name="connsiteY105" fmla="*/ 611490 h 849600"/>
                  <a:gd name="connsiteX106" fmla="*/ 679680 w 849600"/>
                  <a:gd name="connsiteY106" fmla="*/ 611490 h 849600"/>
                  <a:gd name="connsiteX107" fmla="*/ 679680 w 849600"/>
                  <a:gd name="connsiteY107" fmla="*/ 645433 h 849600"/>
                  <a:gd name="connsiteX108" fmla="*/ 645736 w 849600"/>
                  <a:gd name="connsiteY108" fmla="*/ 645433 h 849600"/>
                  <a:gd name="connsiteX109" fmla="*/ 645736 w 849600"/>
                  <a:gd name="connsiteY109" fmla="*/ 679377 h 849600"/>
                  <a:gd name="connsiteX110" fmla="*/ 611793 w 849600"/>
                  <a:gd name="connsiteY110" fmla="*/ 679377 h 849600"/>
                  <a:gd name="connsiteX111" fmla="*/ 577849 w 849600"/>
                  <a:gd name="connsiteY111" fmla="*/ 679377 h 849600"/>
                  <a:gd name="connsiteX112" fmla="*/ 577849 w 849600"/>
                  <a:gd name="connsiteY112" fmla="*/ 713321 h 849600"/>
                  <a:gd name="connsiteX113" fmla="*/ 543906 w 849600"/>
                  <a:gd name="connsiteY113" fmla="*/ 713321 h 849600"/>
                  <a:gd name="connsiteX114" fmla="*/ 509962 w 849600"/>
                  <a:gd name="connsiteY114" fmla="*/ 713321 h 849600"/>
                  <a:gd name="connsiteX115" fmla="*/ 476018 w 849600"/>
                  <a:gd name="connsiteY115" fmla="*/ 713321 h 849600"/>
                  <a:gd name="connsiteX116" fmla="*/ 442075 w 849600"/>
                  <a:gd name="connsiteY116" fmla="*/ 713321 h 849600"/>
                  <a:gd name="connsiteX117" fmla="*/ 408131 w 849600"/>
                  <a:gd name="connsiteY117" fmla="*/ 713321 h 849600"/>
                  <a:gd name="connsiteX118" fmla="*/ 373784 w 849600"/>
                  <a:gd name="connsiteY118" fmla="*/ 713321 h 849600"/>
                  <a:gd name="connsiteX119" fmla="*/ 339840 w 849600"/>
                  <a:gd name="connsiteY119" fmla="*/ 713321 h 849600"/>
                  <a:gd name="connsiteX120" fmla="*/ 305896 w 849600"/>
                  <a:gd name="connsiteY120" fmla="*/ 713321 h 849600"/>
                  <a:gd name="connsiteX121" fmla="*/ 271953 w 849600"/>
                  <a:gd name="connsiteY121" fmla="*/ 713321 h 849600"/>
                  <a:gd name="connsiteX122" fmla="*/ 271953 w 849600"/>
                  <a:gd name="connsiteY122" fmla="*/ 679377 h 849600"/>
                  <a:gd name="connsiteX123" fmla="*/ 238009 w 849600"/>
                  <a:gd name="connsiteY123" fmla="*/ 679377 h 849600"/>
                  <a:gd name="connsiteX124" fmla="*/ 238009 w 849600"/>
                  <a:gd name="connsiteY124" fmla="*/ 645433 h 849600"/>
                  <a:gd name="connsiteX125" fmla="*/ 204066 w 849600"/>
                  <a:gd name="connsiteY125" fmla="*/ 645433 h 849600"/>
                  <a:gd name="connsiteX126" fmla="*/ 204066 w 849600"/>
                  <a:gd name="connsiteY126" fmla="*/ 611490 h 849600"/>
                  <a:gd name="connsiteX127" fmla="*/ 170122 w 849600"/>
                  <a:gd name="connsiteY127" fmla="*/ 611490 h 849600"/>
                  <a:gd name="connsiteX128" fmla="*/ 170122 w 849600"/>
                  <a:gd name="connsiteY128" fmla="*/ 577546 h 849600"/>
                  <a:gd name="connsiteX129" fmla="*/ 170122 w 849600"/>
                  <a:gd name="connsiteY129" fmla="*/ 543603 h 849600"/>
                  <a:gd name="connsiteX130" fmla="*/ 170122 w 849600"/>
                  <a:gd name="connsiteY130" fmla="*/ 509659 h 849600"/>
                  <a:gd name="connsiteX131" fmla="*/ 170122 w 849600"/>
                  <a:gd name="connsiteY131" fmla="*/ 475715 h 849600"/>
                  <a:gd name="connsiteX132" fmla="*/ 170122 w 849600"/>
                  <a:gd name="connsiteY132" fmla="*/ 441772 h 849600"/>
                  <a:gd name="connsiteX133" fmla="*/ 170122 w 849600"/>
                  <a:gd name="connsiteY133" fmla="*/ 407828 h 849600"/>
                  <a:gd name="connsiteX134" fmla="*/ 170122 w 849600"/>
                  <a:gd name="connsiteY134" fmla="*/ 373784 h 849600"/>
                  <a:gd name="connsiteX135" fmla="*/ 170122 w 849600"/>
                  <a:gd name="connsiteY135" fmla="*/ 339840 h 849600"/>
                  <a:gd name="connsiteX136" fmla="*/ 170122 w 849600"/>
                  <a:gd name="connsiteY136" fmla="*/ 305896 h 849600"/>
                  <a:gd name="connsiteX137" fmla="*/ 170122 w 849600"/>
                  <a:gd name="connsiteY137" fmla="*/ 271953 h 849600"/>
                  <a:gd name="connsiteX138" fmla="*/ 170122 w 849600"/>
                  <a:gd name="connsiteY138" fmla="*/ 238009 h 849600"/>
                  <a:gd name="connsiteX139" fmla="*/ 204066 w 849600"/>
                  <a:gd name="connsiteY139" fmla="*/ 238009 h 849600"/>
                  <a:gd name="connsiteX140" fmla="*/ 204066 w 849600"/>
                  <a:gd name="connsiteY140" fmla="*/ 204066 h 849600"/>
                  <a:gd name="connsiteX141" fmla="*/ 238009 w 849600"/>
                  <a:gd name="connsiteY141" fmla="*/ 204066 h 849600"/>
                  <a:gd name="connsiteX142" fmla="*/ 238009 w 849600"/>
                  <a:gd name="connsiteY142" fmla="*/ 170122 h 849600"/>
                  <a:gd name="connsiteX143" fmla="*/ 271953 w 849600"/>
                  <a:gd name="connsiteY143" fmla="*/ 170122 h 849600"/>
                  <a:gd name="connsiteX144" fmla="*/ 305896 w 849600"/>
                  <a:gd name="connsiteY144" fmla="*/ 170122 h 849600"/>
                  <a:gd name="connsiteX145" fmla="*/ 339840 w 849600"/>
                  <a:gd name="connsiteY145" fmla="*/ 170122 h 849600"/>
                  <a:gd name="connsiteX146" fmla="*/ 373784 w 849600"/>
                  <a:gd name="connsiteY146" fmla="*/ 170122 h 849600"/>
                  <a:gd name="connsiteX147" fmla="*/ 407727 w 849600"/>
                  <a:gd name="connsiteY147" fmla="*/ 170122 h 849600"/>
                  <a:gd name="connsiteX148" fmla="*/ 441671 w 849600"/>
                  <a:gd name="connsiteY148" fmla="*/ 170122 h 849600"/>
                  <a:gd name="connsiteX149" fmla="*/ 475614 w 849600"/>
                  <a:gd name="connsiteY149" fmla="*/ 170122 h 849600"/>
                  <a:gd name="connsiteX150" fmla="*/ 509558 w 849600"/>
                  <a:gd name="connsiteY150" fmla="*/ 170122 h 849600"/>
                  <a:gd name="connsiteX151" fmla="*/ 509558 w 849600"/>
                  <a:gd name="connsiteY151" fmla="*/ 204066 h 849600"/>
                  <a:gd name="connsiteX152" fmla="*/ 543502 w 849600"/>
                  <a:gd name="connsiteY152" fmla="*/ 204066 h 849600"/>
                  <a:gd name="connsiteX153" fmla="*/ 543502 w 849600"/>
                  <a:gd name="connsiteY153" fmla="*/ 238009 h 849600"/>
                  <a:gd name="connsiteX154" fmla="*/ 577445 w 849600"/>
                  <a:gd name="connsiteY154" fmla="*/ 238009 h 849600"/>
                  <a:gd name="connsiteX155" fmla="*/ 577445 w 849600"/>
                  <a:gd name="connsiteY155" fmla="*/ 271953 h 849600"/>
                  <a:gd name="connsiteX156" fmla="*/ 611389 w 849600"/>
                  <a:gd name="connsiteY156" fmla="*/ 271953 h 849600"/>
                  <a:gd name="connsiteX157" fmla="*/ 611389 w 849600"/>
                  <a:gd name="connsiteY157" fmla="*/ 305896 h 849600"/>
                  <a:gd name="connsiteX158" fmla="*/ 611389 w 849600"/>
                  <a:gd name="connsiteY158" fmla="*/ 339840 h 849600"/>
                  <a:gd name="connsiteX159" fmla="*/ 577445 w 849600"/>
                  <a:gd name="connsiteY159" fmla="*/ 339840 h 849600"/>
                  <a:gd name="connsiteX160" fmla="*/ 577445 w 849600"/>
                  <a:gd name="connsiteY160" fmla="*/ 373784 h 849600"/>
                  <a:gd name="connsiteX161" fmla="*/ 577445 w 849600"/>
                  <a:gd name="connsiteY161" fmla="*/ 407727 h 849600"/>
                  <a:gd name="connsiteX162" fmla="*/ 611389 w 849600"/>
                  <a:gd name="connsiteY162" fmla="*/ 407727 h 849600"/>
                  <a:gd name="connsiteX163" fmla="*/ 645332 w 849600"/>
                  <a:gd name="connsiteY163" fmla="*/ 407727 h 849600"/>
                  <a:gd name="connsiteX164" fmla="*/ 679276 w 849600"/>
                  <a:gd name="connsiteY164" fmla="*/ 407727 h 849600"/>
                  <a:gd name="connsiteX165" fmla="*/ 679276 w 849600"/>
                  <a:gd name="connsiteY165" fmla="*/ 441671 h 849600"/>
                  <a:gd name="connsiteX166" fmla="*/ 713220 w 849600"/>
                  <a:gd name="connsiteY166" fmla="*/ 441671 h 849600"/>
                  <a:gd name="connsiteX167" fmla="*/ 713220 w 849600"/>
                  <a:gd name="connsiteY167" fmla="*/ 475715 h 84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849600" h="849600">
                    <a:moveTo>
                      <a:pt x="815555" y="101932"/>
                    </a:moveTo>
                    <a:lnTo>
                      <a:pt x="815555" y="67988"/>
                    </a:lnTo>
                    <a:lnTo>
                      <a:pt x="781612" y="67988"/>
                    </a:lnTo>
                    <a:lnTo>
                      <a:pt x="781612" y="33944"/>
                    </a:lnTo>
                    <a:lnTo>
                      <a:pt x="747567" y="33944"/>
                    </a:lnTo>
                    <a:lnTo>
                      <a:pt x="747567" y="0"/>
                    </a:lnTo>
                    <a:lnTo>
                      <a:pt x="713624" y="0"/>
                    </a:lnTo>
                    <a:lnTo>
                      <a:pt x="679680" y="0"/>
                    </a:lnTo>
                    <a:lnTo>
                      <a:pt x="645736" y="0"/>
                    </a:lnTo>
                    <a:lnTo>
                      <a:pt x="611793" y="0"/>
                    </a:lnTo>
                    <a:lnTo>
                      <a:pt x="577849" y="0"/>
                    </a:lnTo>
                    <a:lnTo>
                      <a:pt x="543906" y="0"/>
                    </a:lnTo>
                    <a:lnTo>
                      <a:pt x="509962" y="0"/>
                    </a:lnTo>
                    <a:lnTo>
                      <a:pt x="476018" y="0"/>
                    </a:lnTo>
                    <a:lnTo>
                      <a:pt x="442075" y="0"/>
                    </a:lnTo>
                    <a:lnTo>
                      <a:pt x="408131" y="0"/>
                    </a:lnTo>
                    <a:lnTo>
                      <a:pt x="373784" y="0"/>
                    </a:lnTo>
                    <a:lnTo>
                      <a:pt x="339840" y="0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70122" y="0"/>
                    </a:lnTo>
                    <a:lnTo>
                      <a:pt x="136178" y="0"/>
                    </a:lnTo>
                    <a:lnTo>
                      <a:pt x="102235" y="0"/>
                    </a:lnTo>
                    <a:lnTo>
                      <a:pt x="102235" y="33944"/>
                    </a:lnTo>
                    <a:lnTo>
                      <a:pt x="67988" y="33944"/>
                    </a:lnTo>
                    <a:lnTo>
                      <a:pt x="67988" y="67887"/>
                    </a:lnTo>
                    <a:lnTo>
                      <a:pt x="33944" y="67887"/>
                    </a:lnTo>
                    <a:lnTo>
                      <a:pt x="33944" y="101831"/>
                    </a:lnTo>
                    <a:lnTo>
                      <a:pt x="0" y="101831"/>
                    </a:lnTo>
                    <a:lnTo>
                      <a:pt x="0" y="135774"/>
                    </a:lnTo>
                    <a:lnTo>
                      <a:pt x="0" y="169718"/>
                    </a:lnTo>
                    <a:lnTo>
                      <a:pt x="0" y="203662"/>
                    </a:lnTo>
                    <a:lnTo>
                      <a:pt x="0" y="237605"/>
                    </a:lnTo>
                    <a:lnTo>
                      <a:pt x="0" y="271549"/>
                    </a:lnTo>
                    <a:lnTo>
                      <a:pt x="0" y="305492"/>
                    </a:lnTo>
                    <a:lnTo>
                      <a:pt x="0" y="339436"/>
                    </a:lnTo>
                    <a:lnTo>
                      <a:pt x="0" y="373784"/>
                    </a:lnTo>
                    <a:lnTo>
                      <a:pt x="0" y="407727"/>
                    </a:lnTo>
                    <a:lnTo>
                      <a:pt x="0" y="441671"/>
                    </a:lnTo>
                    <a:lnTo>
                      <a:pt x="0" y="475614"/>
                    </a:lnTo>
                    <a:lnTo>
                      <a:pt x="0" y="509558"/>
                    </a:lnTo>
                    <a:lnTo>
                      <a:pt x="0" y="543502"/>
                    </a:lnTo>
                    <a:lnTo>
                      <a:pt x="0" y="577445"/>
                    </a:lnTo>
                    <a:lnTo>
                      <a:pt x="0" y="611389"/>
                    </a:lnTo>
                    <a:lnTo>
                      <a:pt x="0" y="645332"/>
                    </a:lnTo>
                    <a:lnTo>
                      <a:pt x="0" y="679276"/>
                    </a:lnTo>
                    <a:lnTo>
                      <a:pt x="0" y="713220"/>
                    </a:lnTo>
                    <a:lnTo>
                      <a:pt x="0" y="747567"/>
                    </a:lnTo>
                    <a:lnTo>
                      <a:pt x="33944" y="747567"/>
                    </a:lnTo>
                    <a:lnTo>
                      <a:pt x="33944" y="781511"/>
                    </a:lnTo>
                    <a:lnTo>
                      <a:pt x="67887" y="781511"/>
                    </a:lnTo>
                    <a:lnTo>
                      <a:pt x="67887" y="815454"/>
                    </a:lnTo>
                    <a:lnTo>
                      <a:pt x="101831" y="815454"/>
                    </a:lnTo>
                    <a:lnTo>
                      <a:pt x="101831" y="849600"/>
                    </a:lnTo>
                    <a:lnTo>
                      <a:pt x="135774" y="849600"/>
                    </a:lnTo>
                    <a:lnTo>
                      <a:pt x="169718" y="849600"/>
                    </a:lnTo>
                    <a:lnTo>
                      <a:pt x="203662" y="849600"/>
                    </a:lnTo>
                    <a:lnTo>
                      <a:pt x="237605" y="849600"/>
                    </a:lnTo>
                    <a:lnTo>
                      <a:pt x="271549" y="849600"/>
                    </a:lnTo>
                    <a:lnTo>
                      <a:pt x="305492" y="849600"/>
                    </a:lnTo>
                    <a:lnTo>
                      <a:pt x="339436" y="849600"/>
                    </a:lnTo>
                    <a:lnTo>
                      <a:pt x="373784" y="849600"/>
                    </a:lnTo>
                    <a:lnTo>
                      <a:pt x="407727" y="849600"/>
                    </a:lnTo>
                    <a:lnTo>
                      <a:pt x="441671" y="849600"/>
                    </a:lnTo>
                    <a:lnTo>
                      <a:pt x="475614" y="849600"/>
                    </a:lnTo>
                    <a:lnTo>
                      <a:pt x="509558" y="849600"/>
                    </a:lnTo>
                    <a:lnTo>
                      <a:pt x="543502" y="849600"/>
                    </a:lnTo>
                    <a:lnTo>
                      <a:pt x="577445" y="849600"/>
                    </a:lnTo>
                    <a:lnTo>
                      <a:pt x="611389" y="849600"/>
                    </a:lnTo>
                    <a:lnTo>
                      <a:pt x="645332" y="849600"/>
                    </a:lnTo>
                    <a:lnTo>
                      <a:pt x="679276" y="849600"/>
                    </a:lnTo>
                    <a:lnTo>
                      <a:pt x="713220" y="849600"/>
                    </a:lnTo>
                    <a:lnTo>
                      <a:pt x="747567" y="849600"/>
                    </a:lnTo>
                    <a:lnTo>
                      <a:pt x="747567" y="815656"/>
                    </a:lnTo>
                    <a:lnTo>
                      <a:pt x="781511" y="815656"/>
                    </a:lnTo>
                    <a:lnTo>
                      <a:pt x="781511" y="781713"/>
                    </a:lnTo>
                    <a:lnTo>
                      <a:pt x="815454" y="781713"/>
                    </a:lnTo>
                    <a:lnTo>
                      <a:pt x="815454" y="747567"/>
                    </a:lnTo>
                    <a:lnTo>
                      <a:pt x="849600" y="747567"/>
                    </a:lnTo>
                    <a:lnTo>
                      <a:pt x="849600" y="713624"/>
                    </a:lnTo>
                    <a:lnTo>
                      <a:pt x="849600" y="679680"/>
                    </a:lnTo>
                    <a:lnTo>
                      <a:pt x="849600" y="645736"/>
                    </a:lnTo>
                    <a:lnTo>
                      <a:pt x="849600" y="611793"/>
                    </a:lnTo>
                    <a:lnTo>
                      <a:pt x="849600" y="577849"/>
                    </a:lnTo>
                    <a:lnTo>
                      <a:pt x="849600" y="543906"/>
                    </a:lnTo>
                    <a:lnTo>
                      <a:pt x="849600" y="509962"/>
                    </a:lnTo>
                    <a:lnTo>
                      <a:pt x="849600" y="476018"/>
                    </a:lnTo>
                    <a:lnTo>
                      <a:pt x="849600" y="442075"/>
                    </a:lnTo>
                    <a:lnTo>
                      <a:pt x="849600" y="408131"/>
                    </a:lnTo>
                    <a:lnTo>
                      <a:pt x="849600" y="373784"/>
                    </a:lnTo>
                    <a:lnTo>
                      <a:pt x="849600" y="339840"/>
                    </a:lnTo>
                    <a:lnTo>
                      <a:pt x="849600" y="305896"/>
                    </a:lnTo>
                    <a:lnTo>
                      <a:pt x="849600" y="271953"/>
                    </a:lnTo>
                    <a:lnTo>
                      <a:pt x="849600" y="238009"/>
                    </a:lnTo>
                    <a:lnTo>
                      <a:pt x="849600" y="204066"/>
                    </a:lnTo>
                    <a:lnTo>
                      <a:pt x="849600" y="170122"/>
                    </a:lnTo>
                    <a:lnTo>
                      <a:pt x="849600" y="136178"/>
                    </a:lnTo>
                    <a:lnTo>
                      <a:pt x="849600" y="102235"/>
                    </a:lnTo>
                    <a:lnTo>
                      <a:pt x="815555" y="102235"/>
                    </a:lnTo>
                    <a:close/>
                    <a:moveTo>
                      <a:pt x="713624" y="475715"/>
                    </a:moveTo>
                    <a:lnTo>
                      <a:pt x="713624" y="509659"/>
                    </a:lnTo>
                    <a:lnTo>
                      <a:pt x="713624" y="543603"/>
                    </a:lnTo>
                    <a:lnTo>
                      <a:pt x="713624" y="577546"/>
                    </a:lnTo>
                    <a:lnTo>
                      <a:pt x="713624" y="611490"/>
                    </a:lnTo>
                    <a:lnTo>
                      <a:pt x="679680" y="611490"/>
                    </a:lnTo>
                    <a:lnTo>
                      <a:pt x="679680" y="645433"/>
                    </a:lnTo>
                    <a:lnTo>
                      <a:pt x="645736" y="645433"/>
                    </a:lnTo>
                    <a:lnTo>
                      <a:pt x="645736" y="679377"/>
                    </a:lnTo>
                    <a:lnTo>
                      <a:pt x="611793" y="679377"/>
                    </a:lnTo>
                    <a:lnTo>
                      <a:pt x="577849" y="679377"/>
                    </a:lnTo>
                    <a:lnTo>
                      <a:pt x="577849" y="713321"/>
                    </a:lnTo>
                    <a:lnTo>
                      <a:pt x="543906" y="713321"/>
                    </a:lnTo>
                    <a:lnTo>
                      <a:pt x="509962" y="713321"/>
                    </a:lnTo>
                    <a:lnTo>
                      <a:pt x="476018" y="713321"/>
                    </a:lnTo>
                    <a:lnTo>
                      <a:pt x="442075" y="713321"/>
                    </a:lnTo>
                    <a:lnTo>
                      <a:pt x="408131" y="713321"/>
                    </a:lnTo>
                    <a:lnTo>
                      <a:pt x="373784" y="713321"/>
                    </a:lnTo>
                    <a:lnTo>
                      <a:pt x="339840" y="713321"/>
                    </a:lnTo>
                    <a:lnTo>
                      <a:pt x="305896" y="713321"/>
                    </a:lnTo>
                    <a:lnTo>
                      <a:pt x="271953" y="713321"/>
                    </a:lnTo>
                    <a:lnTo>
                      <a:pt x="271953" y="679377"/>
                    </a:lnTo>
                    <a:lnTo>
                      <a:pt x="238009" y="679377"/>
                    </a:lnTo>
                    <a:lnTo>
                      <a:pt x="238009" y="645433"/>
                    </a:lnTo>
                    <a:lnTo>
                      <a:pt x="204066" y="645433"/>
                    </a:lnTo>
                    <a:lnTo>
                      <a:pt x="204066" y="611490"/>
                    </a:lnTo>
                    <a:lnTo>
                      <a:pt x="170122" y="611490"/>
                    </a:lnTo>
                    <a:lnTo>
                      <a:pt x="170122" y="577546"/>
                    </a:lnTo>
                    <a:lnTo>
                      <a:pt x="170122" y="543603"/>
                    </a:lnTo>
                    <a:lnTo>
                      <a:pt x="170122" y="509659"/>
                    </a:lnTo>
                    <a:lnTo>
                      <a:pt x="170122" y="475715"/>
                    </a:lnTo>
                    <a:lnTo>
                      <a:pt x="170122" y="441772"/>
                    </a:lnTo>
                    <a:lnTo>
                      <a:pt x="170122" y="407828"/>
                    </a:lnTo>
                    <a:lnTo>
                      <a:pt x="170122" y="373784"/>
                    </a:lnTo>
                    <a:lnTo>
                      <a:pt x="170122" y="339840"/>
                    </a:lnTo>
                    <a:lnTo>
                      <a:pt x="170122" y="305896"/>
                    </a:lnTo>
                    <a:lnTo>
                      <a:pt x="170122" y="271953"/>
                    </a:lnTo>
                    <a:lnTo>
                      <a:pt x="170122" y="238009"/>
                    </a:lnTo>
                    <a:lnTo>
                      <a:pt x="204066" y="238009"/>
                    </a:lnTo>
                    <a:lnTo>
                      <a:pt x="204066" y="204066"/>
                    </a:lnTo>
                    <a:lnTo>
                      <a:pt x="238009" y="204066"/>
                    </a:lnTo>
                    <a:lnTo>
                      <a:pt x="238009" y="170122"/>
                    </a:lnTo>
                    <a:lnTo>
                      <a:pt x="271953" y="170122"/>
                    </a:lnTo>
                    <a:lnTo>
                      <a:pt x="305896" y="170122"/>
                    </a:lnTo>
                    <a:lnTo>
                      <a:pt x="339840" y="170122"/>
                    </a:lnTo>
                    <a:lnTo>
                      <a:pt x="373784" y="170122"/>
                    </a:lnTo>
                    <a:lnTo>
                      <a:pt x="407727" y="170122"/>
                    </a:lnTo>
                    <a:lnTo>
                      <a:pt x="441671" y="170122"/>
                    </a:lnTo>
                    <a:lnTo>
                      <a:pt x="475614" y="170122"/>
                    </a:lnTo>
                    <a:lnTo>
                      <a:pt x="509558" y="170122"/>
                    </a:lnTo>
                    <a:lnTo>
                      <a:pt x="509558" y="204066"/>
                    </a:lnTo>
                    <a:lnTo>
                      <a:pt x="543502" y="204066"/>
                    </a:lnTo>
                    <a:lnTo>
                      <a:pt x="543502" y="238009"/>
                    </a:lnTo>
                    <a:lnTo>
                      <a:pt x="577445" y="238009"/>
                    </a:lnTo>
                    <a:lnTo>
                      <a:pt x="577445" y="271953"/>
                    </a:lnTo>
                    <a:lnTo>
                      <a:pt x="611389" y="271953"/>
                    </a:lnTo>
                    <a:lnTo>
                      <a:pt x="611389" y="305896"/>
                    </a:lnTo>
                    <a:lnTo>
                      <a:pt x="611389" y="339840"/>
                    </a:lnTo>
                    <a:lnTo>
                      <a:pt x="577445" y="339840"/>
                    </a:lnTo>
                    <a:lnTo>
                      <a:pt x="577445" y="373784"/>
                    </a:lnTo>
                    <a:lnTo>
                      <a:pt x="577445" y="407727"/>
                    </a:lnTo>
                    <a:lnTo>
                      <a:pt x="611389" y="407727"/>
                    </a:lnTo>
                    <a:lnTo>
                      <a:pt x="645332" y="407727"/>
                    </a:lnTo>
                    <a:lnTo>
                      <a:pt x="679276" y="407727"/>
                    </a:lnTo>
                    <a:lnTo>
                      <a:pt x="679276" y="441671"/>
                    </a:lnTo>
                    <a:lnTo>
                      <a:pt x="713220" y="441671"/>
                    </a:lnTo>
                    <a:lnTo>
                      <a:pt x="713220" y="475715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3A19CBAC-06D6-CD0B-B572-77B8A2A6C5A8}"/>
                  </a:ext>
                </a:extLst>
              </p:cNvPr>
              <p:cNvSpPr/>
              <p:nvPr/>
            </p:nvSpPr>
            <p:spPr>
              <a:xfrm>
                <a:off x="-3510205" y="3866906"/>
                <a:ext cx="271851" cy="67887"/>
              </a:xfrm>
              <a:custGeom>
                <a:avLst/>
                <a:gdLst>
                  <a:gd name="connsiteX0" fmla="*/ 203965 w 271851"/>
                  <a:gd name="connsiteY0" fmla="*/ 0 h 67887"/>
                  <a:gd name="connsiteX1" fmla="*/ 169920 w 271851"/>
                  <a:gd name="connsiteY1" fmla="*/ 0 h 67887"/>
                  <a:gd name="connsiteX2" fmla="*/ 135976 w 271851"/>
                  <a:gd name="connsiteY2" fmla="*/ 0 h 67887"/>
                  <a:gd name="connsiteX3" fmla="*/ 102033 w 271851"/>
                  <a:gd name="connsiteY3" fmla="*/ 0 h 67887"/>
                  <a:gd name="connsiteX4" fmla="*/ 67988 w 271851"/>
                  <a:gd name="connsiteY4" fmla="*/ 0 h 67887"/>
                  <a:gd name="connsiteX5" fmla="*/ 34045 w 271851"/>
                  <a:gd name="connsiteY5" fmla="*/ 0 h 67887"/>
                  <a:gd name="connsiteX6" fmla="*/ 0 w 271851"/>
                  <a:gd name="connsiteY6" fmla="*/ 0 h 67887"/>
                  <a:gd name="connsiteX7" fmla="*/ 0 w 271851"/>
                  <a:gd name="connsiteY7" fmla="*/ 33944 h 67887"/>
                  <a:gd name="connsiteX8" fmla="*/ 0 w 271851"/>
                  <a:gd name="connsiteY8" fmla="*/ 67887 h 67887"/>
                  <a:gd name="connsiteX9" fmla="*/ 34045 w 271851"/>
                  <a:gd name="connsiteY9" fmla="*/ 67887 h 67887"/>
                  <a:gd name="connsiteX10" fmla="*/ 67988 w 271851"/>
                  <a:gd name="connsiteY10" fmla="*/ 67887 h 67887"/>
                  <a:gd name="connsiteX11" fmla="*/ 102033 w 271851"/>
                  <a:gd name="connsiteY11" fmla="*/ 67887 h 67887"/>
                  <a:gd name="connsiteX12" fmla="*/ 135976 w 271851"/>
                  <a:gd name="connsiteY12" fmla="*/ 67887 h 67887"/>
                  <a:gd name="connsiteX13" fmla="*/ 169920 w 271851"/>
                  <a:gd name="connsiteY13" fmla="*/ 67887 h 67887"/>
                  <a:gd name="connsiteX14" fmla="*/ 203965 w 271851"/>
                  <a:gd name="connsiteY14" fmla="*/ 67887 h 67887"/>
                  <a:gd name="connsiteX15" fmla="*/ 237908 w 271851"/>
                  <a:gd name="connsiteY15" fmla="*/ 67887 h 67887"/>
                  <a:gd name="connsiteX16" fmla="*/ 271852 w 271851"/>
                  <a:gd name="connsiteY16" fmla="*/ 67887 h 67887"/>
                  <a:gd name="connsiteX17" fmla="*/ 271852 w 271851"/>
                  <a:gd name="connsiteY17" fmla="*/ 33944 h 67887"/>
                  <a:gd name="connsiteX18" fmla="*/ 271852 w 271851"/>
                  <a:gd name="connsiteY18" fmla="*/ 0 h 67887"/>
                  <a:gd name="connsiteX19" fmla="*/ 237908 w 271851"/>
                  <a:gd name="connsiteY19" fmla="*/ 0 h 6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71851" h="67887">
                    <a:moveTo>
                      <a:pt x="203965" y="0"/>
                    </a:move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34045" y="67887"/>
                    </a:lnTo>
                    <a:lnTo>
                      <a:pt x="67988" y="67887"/>
                    </a:lnTo>
                    <a:lnTo>
                      <a:pt x="102033" y="67887"/>
                    </a:lnTo>
                    <a:lnTo>
                      <a:pt x="135976" y="67887"/>
                    </a:lnTo>
                    <a:lnTo>
                      <a:pt x="169920" y="67887"/>
                    </a:lnTo>
                    <a:lnTo>
                      <a:pt x="203965" y="67887"/>
                    </a:lnTo>
                    <a:lnTo>
                      <a:pt x="237908" y="67887"/>
                    </a:lnTo>
                    <a:lnTo>
                      <a:pt x="271852" y="67887"/>
                    </a:lnTo>
                    <a:lnTo>
                      <a:pt x="271852" y="33944"/>
                    </a:lnTo>
                    <a:lnTo>
                      <a:pt x="271852" y="0"/>
                    </a:lnTo>
                    <a:lnTo>
                      <a:pt x="2379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24FF2CA4-0EA1-AF2F-4501-3219E960D69E}"/>
                  </a:ext>
                </a:extLst>
              </p:cNvPr>
              <p:cNvSpPr/>
              <p:nvPr/>
            </p:nvSpPr>
            <p:spPr>
              <a:xfrm>
                <a:off x="-3510205" y="3662941"/>
                <a:ext cx="169919" cy="67988"/>
              </a:xfrm>
              <a:custGeom>
                <a:avLst/>
                <a:gdLst>
                  <a:gd name="connsiteX0" fmla="*/ 67988 w 169919"/>
                  <a:gd name="connsiteY0" fmla="*/ 67988 h 67988"/>
                  <a:gd name="connsiteX1" fmla="*/ 102033 w 169919"/>
                  <a:gd name="connsiteY1" fmla="*/ 67988 h 67988"/>
                  <a:gd name="connsiteX2" fmla="*/ 135976 w 169919"/>
                  <a:gd name="connsiteY2" fmla="*/ 67988 h 67988"/>
                  <a:gd name="connsiteX3" fmla="*/ 169920 w 169919"/>
                  <a:gd name="connsiteY3" fmla="*/ 67988 h 67988"/>
                  <a:gd name="connsiteX4" fmla="*/ 169920 w 169919"/>
                  <a:gd name="connsiteY4" fmla="*/ 34045 h 67988"/>
                  <a:gd name="connsiteX5" fmla="*/ 169920 w 169919"/>
                  <a:gd name="connsiteY5" fmla="*/ 0 h 67988"/>
                  <a:gd name="connsiteX6" fmla="*/ 135976 w 169919"/>
                  <a:gd name="connsiteY6" fmla="*/ 0 h 67988"/>
                  <a:gd name="connsiteX7" fmla="*/ 102033 w 169919"/>
                  <a:gd name="connsiteY7" fmla="*/ 0 h 67988"/>
                  <a:gd name="connsiteX8" fmla="*/ 67988 w 169919"/>
                  <a:gd name="connsiteY8" fmla="*/ 0 h 67988"/>
                  <a:gd name="connsiteX9" fmla="*/ 34045 w 169919"/>
                  <a:gd name="connsiteY9" fmla="*/ 0 h 67988"/>
                  <a:gd name="connsiteX10" fmla="*/ 0 w 169919"/>
                  <a:gd name="connsiteY10" fmla="*/ 0 h 67988"/>
                  <a:gd name="connsiteX11" fmla="*/ 0 w 169919"/>
                  <a:gd name="connsiteY11" fmla="*/ 34045 h 67988"/>
                  <a:gd name="connsiteX12" fmla="*/ 0 w 169919"/>
                  <a:gd name="connsiteY12" fmla="*/ 67988 h 67988"/>
                  <a:gd name="connsiteX13" fmla="*/ 34045 w 169919"/>
                  <a:gd name="connsiteY13" fmla="*/ 67988 h 6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9919" h="67988">
                    <a:moveTo>
                      <a:pt x="67988" y="67988"/>
                    </a:moveTo>
                    <a:lnTo>
                      <a:pt x="102033" y="67988"/>
                    </a:lnTo>
                    <a:lnTo>
                      <a:pt x="135976" y="67988"/>
                    </a:lnTo>
                    <a:lnTo>
                      <a:pt x="169920" y="67988"/>
                    </a:lnTo>
                    <a:lnTo>
                      <a:pt x="169920" y="34045"/>
                    </a:ln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4045"/>
                    </a:lnTo>
                    <a:lnTo>
                      <a:pt x="0" y="67988"/>
                    </a:lnTo>
                    <a:lnTo>
                      <a:pt x="34045" y="67988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7" name="Graphic 46">
            <a:extLst>
              <a:ext uri="{FF2B5EF4-FFF2-40B4-BE49-F238E27FC236}">
                <a16:creationId xmlns:a16="http://schemas.microsoft.com/office/drawing/2014/main" id="{4A6A0E24-C642-5C27-E6BE-6AB6BDCCE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712" y="3939257"/>
            <a:ext cx="759469" cy="470689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744CB04B-0B9E-F3B5-2727-63EB4FCB8941}"/>
              </a:ext>
            </a:extLst>
          </p:cNvPr>
          <p:cNvSpPr/>
          <p:nvPr/>
        </p:nvSpPr>
        <p:spPr>
          <a:xfrm>
            <a:off x="8169319" y="0"/>
            <a:ext cx="4022682" cy="6858000"/>
          </a:xfrm>
          <a:prstGeom prst="rect">
            <a:avLst/>
          </a:prstGeom>
          <a:solidFill>
            <a:srgbClr val="033E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56" name="Picture 5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CC9055A4-4272-1062-D65C-98DF10FCAC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7870" y="2086575"/>
            <a:ext cx="1767478" cy="1767478"/>
          </a:xfrm>
          <a:prstGeom prst="rect">
            <a:avLst/>
          </a:prstGeom>
        </p:spPr>
      </p:pic>
      <p:pic>
        <p:nvPicPr>
          <p:cNvPr id="57" name="Picture 56" descr="A logo with orange and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50BFA4D-E41C-7C05-7AE4-221EDD4FE2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12785" y="4231650"/>
            <a:ext cx="1567499" cy="1011148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1FEBA406-336B-63FB-C353-14F9C7EA9518}"/>
              </a:ext>
            </a:extLst>
          </p:cNvPr>
          <p:cNvGrpSpPr/>
          <p:nvPr/>
        </p:nvGrpSpPr>
        <p:grpSpPr>
          <a:xfrm>
            <a:off x="5253217" y="1927169"/>
            <a:ext cx="3905687" cy="3573947"/>
            <a:chOff x="4773977" y="1927169"/>
            <a:chExt cx="3905687" cy="3573947"/>
          </a:xfrm>
        </p:grpSpPr>
        <p:pic>
          <p:nvPicPr>
            <p:cNvPr id="60" name="Picture 59" descr="A computer screen with a blue screen&#10;&#10;Description automatically generated">
              <a:extLst>
                <a:ext uri="{FF2B5EF4-FFF2-40B4-BE49-F238E27FC236}">
                  <a16:creationId xmlns:a16="http://schemas.microsoft.com/office/drawing/2014/main" id="{F11525D0-447C-2CD4-F8E9-F45E795DB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73977" y="1927169"/>
              <a:ext cx="3905687" cy="3573947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7051C6D-78B1-59B7-B9BC-3EBEC011A325}"/>
                </a:ext>
              </a:extLst>
            </p:cNvPr>
            <p:cNvSpPr/>
            <p:nvPr/>
          </p:nvSpPr>
          <p:spPr>
            <a:xfrm>
              <a:off x="5620241" y="2482055"/>
              <a:ext cx="2080350" cy="817158"/>
            </a:xfrm>
            <a:prstGeom prst="rect">
              <a:avLst/>
            </a:prstGeom>
            <a:solidFill>
              <a:srgbClr val="0141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EF421D3E-7995-26AF-CF10-33BB35995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8482" y="2655817"/>
              <a:ext cx="1218766" cy="491726"/>
            </a:xfrm>
            <a:prstGeom prst="rect">
              <a:avLst/>
            </a:prstGeom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6696D23-0EF0-7C20-D99D-C68772852727}"/>
                </a:ext>
              </a:extLst>
            </p:cNvPr>
            <p:cNvSpPr/>
            <p:nvPr/>
          </p:nvSpPr>
          <p:spPr>
            <a:xfrm>
              <a:off x="5609728" y="3296832"/>
              <a:ext cx="2080350" cy="8171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1024" name="Picture 1023">
              <a:extLst>
                <a:ext uri="{FF2B5EF4-FFF2-40B4-BE49-F238E27FC236}">
                  <a16:creationId xmlns:a16="http://schemas.microsoft.com/office/drawing/2014/main" id="{F88F488C-16AD-9784-A4AE-1BF536324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9679" y="3361158"/>
              <a:ext cx="1217568" cy="686891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525E048-F11C-88F7-7DCF-4621B519458A}"/>
              </a:ext>
            </a:extLst>
          </p:cNvPr>
          <p:cNvSpPr txBox="1"/>
          <p:nvPr/>
        </p:nvSpPr>
        <p:spPr>
          <a:xfrm>
            <a:off x="6044317" y="2420599"/>
            <a:ext cx="10030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ormer</a:t>
            </a:r>
            <a:endParaRPr kumimoji="0" lang="nl-BE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8564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7F3778-A224-97A9-5AC5-33820C81C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s in ADF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223160-7E07-846F-1955-F8B0CEC2C7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159" y="1182387"/>
            <a:ext cx="9586791" cy="53878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E41CC24-6F99-AE3C-4F0E-D4F909AC8E39}"/>
              </a:ext>
            </a:extLst>
          </p:cNvPr>
          <p:cNvSpPr txBox="1"/>
          <p:nvPr/>
        </p:nvSpPr>
        <p:spPr>
          <a:xfrm>
            <a:off x="6400800" y="123610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youtube.com/watch?v=Fct1dcZMy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54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ALL ACTIVITIES ARE PRO-RATED BY THE </a:t>
            </a:r>
            <a:r>
              <a:rPr lang="en-US" sz="7200" b="1" dirty="0"/>
              <a:t>MINUTE</a:t>
            </a:r>
          </a:p>
          <a:p>
            <a:pPr marL="0" indent="0">
              <a:buNone/>
            </a:pPr>
            <a:r>
              <a:rPr lang="en-US" sz="7200" dirty="0"/>
              <a:t>AND ROUNDED </a:t>
            </a:r>
            <a:r>
              <a:rPr lang="en-US" sz="7200" b="1" dirty="0"/>
              <a:t>UP</a:t>
            </a:r>
            <a:endParaRPr lang="nl-BE" sz="7200" b="1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to remember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96489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3147B3-5414-55BA-D9BE-E27BF1840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E1C2F0-6866-4384-C10C-534A7F598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t’s 2 minutes right there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586598-389D-2950-61C3-3033225F8D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2037" y="2953438"/>
            <a:ext cx="7407925" cy="1642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22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557147-512F-08EE-F1A7-0E77A9622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B17515-57BD-2EEA-21F2-5FF4FC5FC8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361" y="1257734"/>
            <a:ext cx="7232007" cy="4938188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EEA4157-0914-CF43-360C-BF07D884960B}"/>
              </a:ext>
            </a:extLst>
          </p:cNvPr>
          <p:cNvCxnSpPr>
            <a:cxnSpLocks/>
          </p:cNvCxnSpPr>
          <p:nvPr/>
        </p:nvCxnSpPr>
        <p:spPr>
          <a:xfrm flipH="1">
            <a:off x="6795689" y="4025403"/>
            <a:ext cx="2110300" cy="133350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AE62BF-777C-B1B1-DEED-286E2FF612F8}"/>
              </a:ext>
            </a:extLst>
          </p:cNvPr>
          <p:cNvSpPr txBox="1"/>
          <p:nvPr/>
        </p:nvSpPr>
        <p:spPr>
          <a:xfrm>
            <a:off x="8812519" y="3194406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 and 23 seconds runtim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2702DF-EE9F-1988-3458-B0195071820C}"/>
              </a:ext>
            </a:extLst>
          </p:cNvPr>
          <p:cNvSpPr txBox="1"/>
          <p:nvPr/>
        </p:nvSpPr>
        <p:spPr>
          <a:xfrm>
            <a:off x="6134215" y="5019178"/>
            <a:ext cx="661474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3733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9EA46B-5D6C-4A93-AA53-C2C22BA1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30768E-D85A-923E-FC87-BBD292A60F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047" y="1572818"/>
            <a:ext cx="6506316" cy="298525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67089D-10DF-6CE4-ED61-50CA75F2F7C2}"/>
              </a:ext>
            </a:extLst>
          </p:cNvPr>
          <p:cNvCxnSpPr>
            <a:cxnSpLocks/>
          </p:cNvCxnSpPr>
          <p:nvPr/>
        </p:nvCxnSpPr>
        <p:spPr>
          <a:xfrm flipV="1">
            <a:off x="2922252" y="4198919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FFC84B-0E9C-02F2-8FA5-6AD07DFF5C7F}"/>
              </a:ext>
            </a:extLst>
          </p:cNvPr>
          <p:cNvSpPr txBox="1"/>
          <p:nvPr/>
        </p:nvSpPr>
        <p:spPr>
          <a:xfrm>
            <a:off x="1466706" y="4842154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BC08D7-2592-17A3-2988-E6250F07C5E3}"/>
              </a:ext>
            </a:extLst>
          </p:cNvPr>
          <p:cNvSpPr txBox="1"/>
          <p:nvPr/>
        </p:nvSpPr>
        <p:spPr>
          <a:xfrm>
            <a:off x="4265278" y="39988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71392-09FE-8530-220A-A40FD4597DA3}"/>
              </a:ext>
            </a:extLst>
          </p:cNvPr>
          <p:cNvSpPr txBox="1"/>
          <p:nvPr/>
        </p:nvSpPr>
        <p:spPr>
          <a:xfrm>
            <a:off x="4265277" y="4256878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84A7BDC-2C10-A21C-6A1B-492A794A9CA6}"/>
              </a:ext>
            </a:extLst>
          </p:cNvPr>
          <p:cNvCxnSpPr>
            <a:cxnSpLocks/>
          </p:cNvCxnSpPr>
          <p:nvPr/>
        </p:nvCxnSpPr>
        <p:spPr>
          <a:xfrm flipV="1">
            <a:off x="2922252" y="4529494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1150CB8-E4C7-DBDE-F2FA-83913AF371ED}"/>
              </a:ext>
            </a:extLst>
          </p:cNvPr>
          <p:cNvSpPr txBox="1"/>
          <p:nvPr/>
        </p:nvSpPr>
        <p:spPr>
          <a:xfrm>
            <a:off x="1466706" y="5201304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D5EF3A-2647-8295-0394-EE0DC4DE5781}"/>
              </a:ext>
            </a:extLst>
          </p:cNvPr>
          <p:cNvSpPr txBox="1"/>
          <p:nvPr/>
        </p:nvSpPr>
        <p:spPr>
          <a:xfrm>
            <a:off x="7275176" y="818752"/>
            <a:ext cx="46958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08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Movement (Azure-IR): $0,25/hour</a:t>
            </a:r>
          </a:p>
          <a:p>
            <a:r>
              <a:rPr lang="en-US" dirty="0">
                <a:sym typeface="Wingdings" panose="05000000000000000000" pitchFamily="2" charset="2"/>
              </a:rPr>
              <a:t> 2 * 1.6667 * $0.25 = $0,83335/ru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834441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$25.03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$600.80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7209.58</a:t>
            </a:r>
          </a:p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0BA46-46FA-36F3-638D-757C054E5973}"/>
              </a:ext>
            </a:extLst>
          </p:cNvPr>
          <p:cNvSpPr txBox="1"/>
          <p:nvPr/>
        </p:nvSpPr>
        <p:spPr>
          <a:xfrm>
            <a:off x="4265277" y="37335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C46554C-59B5-0201-2FBE-ED6EA27F4017}"/>
              </a:ext>
            </a:extLst>
          </p:cNvPr>
          <p:cNvCxnSpPr>
            <a:cxnSpLocks/>
          </p:cNvCxnSpPr>
          <p:nvPr/>
        </p:nvCxnSpPr>
        <p:spPr>
          <a:xfrm flipH="1" flipV="1">
            <a:off x="4741527" y="3855239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3D5A581-C6C7-8BA5-07B5-F29BDE85F2D9}"/>
              </a:ext>
            </a:extLst>
          </p:cNvPr>
          <p:cNvSpPr txBox="1"/>
          <p:nvPr/>
        </p:nvSpPr>
        <p:spPr>
          <a:xfrm>
            <a:off x="4896211" y="4918806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8BA570-9D6C-D37F-A001-4EAFBA8A15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6223" y="3023807"/>
            <a:ext cx="4427604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64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/>
      <p:bldP spid="12" grpId="0" animBg="1"/>
      <p:bldP spid="1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D4E6E3-DCC9-C9F2-545F-4B2392BB7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757" y="500826"/>
            <a:ext cx="11087019" cy="956186"/>
          </a:xfrm>
        </p:spPr>
        <p:txBody>
          <a:bodyPr>
            <a:normAutofit/>
          </a:bodyPr>
          <a:lstStyle/>
          <a:p>
            <a:r>
              <a:rPr lang="en-US" dirty="0"/>
              <a:t>50% cost saving with one single confi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0BCE96-1F54-506D-22C5-5D31E531CC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14" y="1767528"/>
            <a:ext cx="10896571" cy="40989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585AD1C-5DFD-B97F-8917-59665A4BEF31}"/>
              </a:ext>
            </a:extLst>
          </p:cNvPr>
          <p:cNvSpPr txBox="1"/>
          <p:nvPr/>
        </p:nvSpPr>
        <p:spPr>
          <a:xfrm>
            <a:off x="3293479" y="3718559"/>
            <a:ext cx="437274" cy="34137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2153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A22F78-74E7-4933-2061-062EA0B61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number of activitie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A37047-D2E9-CA2C-25BA-DF6F6F91AB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0825" y="1457011"/>
            <a:ext cx="7530349" cy="5089089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3A44112-E11C-252B-7D0D-A6A7A52BF194}"/>
              </a:ext>
            </a:extLst>
          </p:cNvPr>
          <p:cNvCxnSpPr>
            <a:cxnSpLocks/>
          </p:cNvCxnSpPr>
          <p:nvPr/>
        </p:nvCxnSpPr>
        <p:spPr>
          <a:xfrm>
            <a:off x="3938016" y="2865120"/>
            <a:ext cx="1970648" cy="298704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106F306-2230-A10A-5DA8-E8EE7463F484}"/>
              </a:ext>
            </a:extLst>
          </p:cNvPr>
          <p:cNvSpPr txBox="1"/>
          <p:nvPr/>
        </p:nvSpPr>
        <p:spPr>
          <a:xfrm>
            <a:off x="1288219" y="4001555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irectly refer to lookup output instead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2050" name="Picture 2" descr="Delete Images – Browse 213,116 Stock Photos, Vectors, and Video | Adobe  Stock">
            <a:extLst>
              <a:ext uri="{FF2B5EF4-FFF2-40B4-BE49-F238E27FC236}">
                <a16:creationId xmlns:a16="http://schemas.microsoft.com/office/drawing/2014/main" id="{0FA0A3ED-4301-BF37-C76C-2502C28D88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745" y="1589398"/>
            <a:ext cx="1901838" cy="1901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592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193A07E-C9F1-F989-DEA2-18BA91227E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ferably to something that doesn’t have pricing per minute</a:t>
            </a:r>
          </a:p>
          <a:p>
            <a:r>
              <a:rPr lang="en-US" dirty="0"/>
              <a:t>such as an Azure SQL DB</a:t>
            </a:r>
          </a:p>
          <a:p>
            <a:pPr lvl="1"/>
            <a:r>
              <a:rPr lang="nl-BE" dirty="0" err="1"/>
              <a:t>scale</a:t>
            </a:r>
            <a:r>
              <a:rPr lang="nl-BE" dirty="0"/>
              <a:t> up </a:t>
            </a:r>
            <a:r>
              <a:rPr lang="nl-BE" dirty="0" err="1"/>
              <a:t>before</a:t>
            </a:r>
            <a:r>
              <a:rPr lang="nl-BE" dirty="0"/>
              <a:t> ELT</a:t>
            </a:r>
          </a:p>
          <a:p>
            <a:pPr lvl="1"/>
            <a:r>
              <a:rPr lang="nl-BE" dirty="0" err="1"/>
              <a:t>scale</a:t>
            </a:r>
            <a:r>
              <a:rPr lang="nl-BE" dirty="0"/>
              <a:t> down </a:t>
            </a:r>
            <a:r>
              <a:rPr lang="nl-BE" dirty="0" err="1"/>
              <a:t>once</a:t>
            </a:r>
            <a:r>
              <a:rPr lang="nl-BE" dirty="0"/>
              <a:t> ELT is </a:t>
            </a:r>
            <a:r>
              <a:rPr lang="nl-BE" dirty="0" err="1"/>
              <a:t>done</a:t>
            </a:r>
            <a:endParaRPr lang="nl-BE" dirty="0"/>
          </a:p>
          <a:p>
            <a:pPr lvl="1"/>
            <a:endParaRPr lang="nl-BE" dirty="0"/>
          </a:p>
          <a:p>
            <a:endParaRPr lang="nl-BE" dirty="0"/>
          </a:p>
          <a:p>
            <a:r>
              <a:rPr lang="nl-BE" dirty="0"/>
              <a:t>or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compute</a:t>
            </a:r>
            <a:r>
              <a:rPr lang="nl-BE" dirty="0"/>
              <a:t> </a:t>
            </a:r>
            <a:r>
              <a:rPr lang="nl-BE" dirty="0" err="1"/>
              <a:t>that</a:t>
            </a:r>
            <a:r>
              <a:rPr lang="nl-BE" dirty="0"/>
              <a:t> is </a:t>
            </a:r>
            <a:r>
              <a:rPr lang="nl-BE" dirty="0" err="1"/>
              <a:t>just</a:t>
            </a:r>
            <a:r>
              <a:rPr lang="nl-BE" dirty="0"/>
              <a:t> </a:t>
            </a:r>
            <a:r>
              <a:rPr lang="nl-BE" dirty="0" err="1"/>
              <a:t>cheaper</a:t>
            </a:r>
            <a:endParaRPr lang="nl-BE" dirty="0"/>
          </a:p>
          <a:p>
            <a:r>
              <a:rPr lang="nl-BE" dirty="0"/>
              <a:t>Azure </a:t>
            </a:r>
            <a:r>
              <a:rPr lang="nl-BE" dirty="0" err="1"/>
              <a:t>Functions</a:t>
            </a:r>
            <a:r>
              <a:rPr lang="nl-BE" dirty="0"/>
              <a:t> or Azure Logic Apps are </a:t>
            </a:r>
            <a:r>
              <a:rPr lang="nl-BE" dirty="0" err="1"/>
              <a:t>good</a:t>
            </a:r>
            <a:r>
              <a:rPr lang="nl-BE" dirty="0"/>
              <a:t> </a:t>
            </a:r>
            <a:r>
              <a:rPr lang="nl-BE" dirty="0" err="1"/>
              <a:t>alternatives</a:t>
            </a:r>
            <a:endParaRPr lang="nl-BE" dirty="0"/>
          </a:p>
          <a:p>
            <a:pPr lvl="1"/>
            <a:r>
              <a:rPr lang="nl-BE" dirty="0" err="1"/>
              <a:t>for</a:t>
            </a:r>
            <a:r>
              <a:rPr lang="nl-BE" dirty="0"/>
              <a:t> smaller </a:t>
            </a:r>
            <a:r>
              <a:rPr lang="nl-BE" dirty="0" err="1"/>
              <a:t>workloads</a:t>
            </a:r>
            <a:endParaRPr lang="nl-BE" dirty="0"/>
          </a:p>
          <a:p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bigger</a:t>
            </a:r>
            <a:r>
              <a:rPr lang="nl-BE" dirty="0"/>
              <a:t> </a:t>
            </a:r>
            <a:r>
              <a:rPr lang="nl-BE" dirty="0" err="1"/>
              <a:t>workloads</a:t>
            </a:r>
            <a:r>
              <a:rPr lang="nl-BE" dirty="0"/>
              <a:t>, </a:t>
            </a:r>
            <a:r>
              <a:rPr lang="nl-BE" dirty="0" err="1"/>
              <a:t>maybe</a:t>
            </a:r>
            <a:r>
              <a:rPr lang="nl-BE" dirty="0"/>
              <a:t> </a:t>
            </a:r>
            <a:r>
              <a:rPr lang="nl-BE" dirty="0" err="1"/>
              <a:t>consider</a:t>
            </a:r>
            <a:r>
              <a:rPr lang="nl-BE" dirty="0"/>
              <a:t> </a:t>
            </a:r>
            <a:r>
              <a:rPr lang="nl-BE" dirty="0" err="1"/>
              <a:t>using</a:t>
            </a:r>
            <a:r>
              <a:rPr lang="nl-BE" dirty="0"/>
              <a:t> a </a:t>
            </a:r>
            <a:r>
              <a:rPr lang="nl-BE" dirty="0" err="1"/>
              <a:t>self-hosted</a:t>
            </a:r>
            <a:r>
              <a:rPr lang="nl-BE" dirty="0"/>
              <a:t> IR in a V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337E40-4DCE-8F2C-0218-C39A7B0AD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757" y="500826"/>
            <a:ext cx="10367691" cy="956186"/>
          </a:xfrm>
        </p:spPr>
        <p:txBody>
          <a:bodyPr>
            <a:normAutofit/>
          </a:bodyPr>
          <a:lstStyle/>
          <a:p>
            <a:r>
              <a:rPr lang="en-US" dirty="0"/>
              <a:t>move compute to somewhere els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014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5699167-48E6-637A-4C04-A104B45563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6757" y="1893022"/>
            <a:ext cx="7173387" cy="267002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6779E57-D2B5-B6A9-864B-F6159BECD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Functions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9913E4-1DA9-4951-AC8B-30E4F15AD934}"/>
              </a:ext>
            </a:extLst>
          </p:cNvPr>
          <p:cNvSpPr txBox="1"/>
          <p:nvPr/>
        </p:nvSpPr>
        <p:spPr>
          <a:xfrm>
            <a:off x="3134982" y="2089713"/>
            <a:ext cx="2010041" cy="2276642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62B69E-FBCC-2EF7-9829-299F91808D15}"/>
              </a:ext>
            </a:extLst>
          </p:cNvPr>
          <p:cNvSpPr txBox="1"/>
          <p:nvPr/>
        </p:nvSpPr>
        <p:spPr>
          <a:xfrm>
            <a:off x="8273668" y="5149422"/>
            <a:ext cx="30745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on’t forget your dev cost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1748BAB-B9F3-A197-D2AF-022676818396}"/>
              </a:ext>
            </a:extLst>
          </p:cNvPr>
          <p:cNvSpPr txBox="1"/>
          <p:nvPr/>
        </p:nvSpPr>
        <p:spPr>
          <a:xfrm>
            <a:off x="5233012" y="5210978"/>
            <a:ext cx="3040656" cy="769441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FF0000"/>
                </a:solidFill>
              </a:rPr>
              <a:t>CAUTION!</a:t>
            </a:r>
            <a:endParaRPr lang="en-BE" sz="4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296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2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E35AEA8-EDB4-B209-8977-3C49EB9CBF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757" y="981170"/>
            <a:ext cx="5401751" cy="489566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81BC905-6447-AE37-C6C6-D856DBD1A6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5083" y="1384203"/>
            <a:ext cx="5057274" cy="44926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8E1925A-99FE-D88E-91E5-098FFA6E5AA9}"/>
              </a:ext>
            </a:extLst>
          </p:cNvPr>
          <p:cNvSpPr txBox="1"/>
          <p:nvPr/>
        </p:nvSpPr>
        <p:spPr>
          <a:xfrm>
            <a:off x="780182" y="3051672"/>
            <a:ext cx="4474864" cy="37732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AB3B50-01D9-CAF7-BF8D-63F7DF887625}"/>
              </a:ext>
            </a:extLst>
          </p:cNvPr>
          <p:cNvSpPr txBox="1"/>
          <p:nvPr/>
        </p:nvSpPr>
        <p:spPr>
          <a:xfrm>
            <a:off x="780182" y="5032872"/>
            <a:ext cx="4474864" cy="37732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195CB9-42CF-EFF0-1D38-EB11F781ECBB}"/>
              </a:ext>
            </a:extLst>
          </p:cNvPr>
          <p:cNvSpPr txBox="1"/>
          <p:nvPr/>
        </p:nvSpPr>
        <p:spPr>
          <a:xfrm>
            <a:off x="6361184" y="3097116"/>
            <a:ext cx="4126874" cy="37732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A79B7B-B2C5-DD31-28F3-7E771E59A8A8}"/>
              </a:ext>
            </a:extLst>
          </p:cNvPr>
          <p:cNvSpPr txBox="1"/>
          <p:nvPr/>
        </p:nvSpPr>
        <p:spPr>
          <a:xfrm>
            <a:off x="6361184" y="5419843"/>
            <a:ext cx="4126874" cy="37732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29526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8FA2E2-A4FB-6367-8BBF-D9DD778E90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What is ADF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84E87D-9821-D86A-F736-0ABD0C5FA5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1</a:t>
            </a:r>
            <a:endParaRPr lang="nl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9B72C-FE1C-899D-FF7F-1664F58A19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DF vs SSI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BDFB22-4C38-62A5-FC03-609D4AAC09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2</a:t>
            </a:r>
            <a:endParaRPr lang="nl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794D7A-7DC9-EF4F-B903-7E28DC6FBF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How to save on cos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24DFB7-9FB6-783B-8FD7-E1F2CE62CBD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3</a:t>
            </a:r>
            <a:endParaRPr lang="nl-B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DE0242-4264-F0DC-EFDC-5A2A813275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What about Fabric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0CCE38-7A04-3131-575F-456E8179D1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4</a:t>
            </a:r>
            <a:endParaRPr lang="nl-BE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AA6BEA9-C080-96C4-73C9-7D9FF2B0DE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utline</a:t>
            </a:r>
            <a:endParaRPr lang="nl-B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0644A9F-335B-C50E-6614-5B9BB20DED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5D3ACC9-E02E-A4CA-E3EA-E6F3BC27FB3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92500" lnSpcReduction="20000"/>
          </a:bodyPr>
          <a:lstStyle/>
          <a:p>
            <a:endParaRPr lang="en-BE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9ED178C-00AC-1006-46ED-51BD64F343E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8CA8EC8-7418-45EF-B295-1A22508CD7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>
            <a:normAutofit fontScale="92500" lnSpcReduction="20000"/>
          </a:bodyPr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7654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CFDAA41-3C21-0A0D-078C-7A7D309B26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6757" y="1457012"/>
            <a:ext cx="10515600" cy="4719952"/>
          </a:xfrm>
        </p:spPr>
        <p:txBody>
          <a:bodyPr/>
          <a:lstStyle/>
          <a:p>
            <a:r>
              <a:rPr lang="en-US" dirty="0"/>
              <a:t>If you already have the data in a database …</a:t>
            </a:r>
          </a:p>
          <a:p>
            <a:r>
              <a:rPr lang="en-US" dirty="0"/>
              <a:t>… you are paying twice for compute</a:t>
            </a:r>
            <a:endParaRPr lang="en-B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95965A-1C3E-45FF-41CC-B4B8E0F87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flows?</a:t>
            </a:r>
            <a:endParaRPr lang="en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C8CB16-EB0E-5845-4633-5FD3996B58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3807" y="2712220"/>
            <a:ext cx="4381500" cy="3305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106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76AFA9D-9A70-D4A7-4E6C-1E3CB76D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zure Cost Analysis</a:t>
            </a:r>
          </a:p>
          <a:p>
            <a:r>
              <a:rPr lang="en-US" dirty="0"/>
              <a:t>Or your billing report</a:t>
            </a:r>
            <a:endParaRPr lang="en-B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F29F95-49CA-ED95-9415-ABBF9EF9C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insights in costs</a:t>
            </a:r>
            <a:endParaRPr lang="en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98C7B6-EF2E-59C4-0759-F8A6589771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6086" y="2791446"/>
            <a:ext cx="6599492" cy="2430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5398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5898A6-85CE-32DD-8370-A80ABA603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F59ADEBA-809A-08C3-94B3-64B9ED2F3B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9084585" cy="1903106"/>
          </a:xfrm>
        </p:spPr>
        <p:txBody>
          <a:bodyPr/>
          <a:lstStyle/>
          <a:p>
            <a:r>
              <a:rPr lang="en-US" dirty="0"/>
              <a:t>What about Fabric?</a:t>
            </a:r>
            <a:endParaRPr lang="en-BE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5F85F909-1CAF-09BC-581C-4294F2BD7EF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8357102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76EC569-1B26-1B3F-5C6B-5A17F43F7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bric uses CU consumption</a:t>
            </a:r>
            <a:endParaRPr lang="en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EFCA92C-E1C2-076B-645E-DA952A86A8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ly two types of activities:</a:t>
            </a:r>
          </a:p>
          <a:p>
            <a:pPr lvl="1"/>
            <a:r>
              <a:rPr lang="en-US" dirty="0"/>
              <a:t>Data movement – </a:t>
            </a:r>
            <a:r>
              <a:rPr lang="en-US" b="1" dirty="0"/>
              <a:t>1,5</a:t>
            </a:r>
            <a:r>
              <a:rPr lang="en-US" dirty="0"/>
              <a:t> CU hours</a:t>
            </a:r>
          </a:p>
          <a:p>
            <a:pPr lvl="1"/>
            <a:r>
              <a:rPr lang="en-US" dirty="0"/>
              <a:t>Data orchestration – 0,0056 CU hours per activity run</a:t>
            </a:r>
          </a:p>
          <a:p>
            <a:pPr lvl="1"/>
            <a:r>
              <a:rPr lang="en-US" dirty="0"/>
              <a:t>In </a:t>
            </a:r>
            <a:r>
              <a:rPr lang="en-US" dirty="0">
                <a:hlinkClick r:id="rId3"/>
              </a:rPr>
              <a:t>docs</a:t>
            </a:r>
            <a:r>
              <a:rPr lang="en-US" dirty="0"/>
              <a:t>, 1 CU hour = </a:t>
            </a:r>
            <a:r>
              <a:rPr lang="en-US" b="1" dirty="0"/>
              <a:t>$0,18</a:t>
            </a:r>
          </a:p>
          <a:p>
            <a:pPr lvl="1"/>
            <a:endParaRPr lang="en-US" dirty="0"/>
          </a:p>
          <a:p>
            <a:r>
              <a:rPr lang="en-US" dirty="0"/>
              <a:t>Copying 1TB of data to a warehouse</a:t>
            </a:r>
          </a:p>
          <a:p>
            <a:pPr lvl="1"/>
            <a:r>
              <a:rPr lang="en-US" dirty="0"/>
              <a:t>Takes about 11 minutes (662 seconds)</a:t>
            </a:r>
          </a:p>
          <a:p>
            <a:pPr lvl="1"/>
            <a:r>
              <a:rPr lang="en-US" dirty="0"/>
              <a:t>“intelligent throughput optimization” was 4</a:t>
            </a:r>
          </a:p>
          <a:p>
            <a:pPr lvl="1"/>
            <a:r>
              <a:rPr lang="en-US" dirty="0"/>
              <a:t>Utilized CU hours = 4 * 1,5 * (11/60) = 1,1 CU hours (or 3960 CU seconds)</a:t>
            </a:r>
          </a:p>
          <a:p>
            <a:pPr lvl="1"/>
            <a:r>
              <a:rPr lang="en-US" dirty="0"/>
              <a:t>1,1 CU hours * ($0,18 / CU hours) = $0,20</a:t>
            </a:r>
          </a:p>
          <a:p>
            <a:pPr lvl="1"/>
            <a:endParaRPr lang="en-US" dirty="0"/>
          </a:p>
          <a:p>
            <a:r>
              <a:rPr lang="en-US" dirty="0"/>
              <a:t>Check out the </a:t>
            </a:r>
            <a:r>
              <a:rPr lang="en-US" dirty="0">
                <a:hlinkClick r:id="rId4"/>
              </a:rPr>
              <a:t>pricing examples</a:t>
            </a:r>
            <a:r>
              <a:rPr lang="en-US" dirty="0"/>
              <a:t> (they are misleading though as they deal with only 1 copy activity)</a:t>
            </a:r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29157288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55A14-F898-9C8A-2C43-202109686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F vs Fabric</a:t>
            </a:r>
            <a:endParaRPr lang="en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46081F-46D3-E4EB-488F-9566506A46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/>
          </a:bodyPr>
          <a:lstStyle/>
          <a:p>
            <a:r>
              <a:rPr lang="en-US" dirty="0"/>
              <a:t>In ADF, duration matters for all activities</a:t>
            </a:r>
          </a:p>
          <a:p>
            <a:r>
              <a:rPr lang="en-US" dirty="0"/>
              <a:t>In Fabric, duration only matters for copy data activity</a:t>
            </a:r>
          </a:p>
          <a:p>
            <a:endParaRPr lang="en-US" dirty="0"/>
          </a:p>
          <a:p>
            <a:r>
              <a:rPr lang="en-US" dirty="0"/>
              <a:t>Cost of the same pipeline</a:t>
            </a:r>
          </a:p>
          <a:p>
            <a:pPr lvl="1"/>
            <a:r>
              <a:rPr lang="en-US" dirty="0"/>
              <a:t>ADF </a:t>
            </a:r>
            <a:r>
              <a:rPr lang="en-US" b="1" dirty="0"/>
              <a:t>= </a:t>
            </a:r>
            <a:r>
              <a:rPr lang="en-US" b="1" dirty="0">
                <a:sym typeface="Wingdings" panose="05000000000000000000" pitchFamily="2" charset="2"/>
              </a:rPr>
              <a:t>$0,83335 per run </a:t>
            </a:r>
            <a:r>
              <a:rPr lang="en-US" dirty="0">
                <a:sym typeface="Wingdings" panose="05000000000000000000" pitchFamily="2" charset="2"/>
              </a:rPr>
              <a:t>(with default settings: </a:t>
            </a:r>
            <a:r>
              <a:rPr lang="en-US" b="1" dirty="0">
                <a:sym typeface="Wingdings" panose="05000000000000000000" pitchFamily="2" charset="2"/>
              </a:rPr>
              <a:t>$1,66 per run</a:t>
            </a:r>
            <a:r>
              <a:rPr lang="en-US" dirty="0">
                <a:sym typeface="Wingdings" panose="05000000000000000000" pitchFamily="2" charset="2"/>
              </a:rPr>
              <a:t>)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Fabric = </a:t>
            </a:r>
            <a:r>
              <a:rPr lang="en-US" dirty="0"/>
              <a:t>36000 CUs = 10 CU hour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=&gt; 10 CU hour / (4 * 1,5) = 1,666667 hours (same as in ADF, thus 100 minutes)</a:t>
            </a:r>
            <a:br>
              <a:rPr lang="en-US" dirty="0"/>
            </a:br>
            <a:r>
              <a:rPr lang="en-US" dirty="0"/>
              <a:t>=&gt; 10 CU hour * ($0,18/CU hour) = </a:t>
            </a:r>
            <a:r>
              <a:rPr lang="en-US" b="1" dirty="0"/>
              <a:t>$1,8 per ru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Fabric is about 8% more expensive (keep in mind you pay for the capacity running)</a:t>
            </a:r>
            <a:endParaRPr lang="en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4BE22F-2BD7-627C-3CE1-D27AE51F4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1758" y="3883664"/>
            <a:ext cx="6617977" cy="1252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645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conclusion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39598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D5DC25-4BBE-0376-0A54-3ED41D1D1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B5AEEA-3911-E5CE-F922-71918C7323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 lnSpcReduction="10000"/>
          </a:bodyPr>
          <a:lstStyle/>
          <a:p>
            <a:r>
              <a:rPr lang="en-US" dirty="0"/>
              <a:t>ADF is not a streaming service</a:t>
            </a:r>
          </a:p>
          <a:p>
            <a:r>
              <a:rPr lang="en-US" dirty="0"/>
              <a:t>you pay for each activity at least one minute</a:t>
            </a:r>
          </a:p>
          <a:p>
            <a:r>
              <a:rPr lang="en-US" dirty="0"/>
              <a:t>copy activity is the most expensive one</a:t>
            </a:r>
          </a:p>
          <a:p>
            <a:r>
              <a:rPr lang="en-US" dirty="0"/>
              <a:t>try to avoid VNET integration if it is not really needed</a:t>
            </a:r>
          </a:p>
          <a:p>
            <a:r>
              <a:rPr lang="en-US" dirty="0"/>
              <a:t>move compute to external options</a:t>
            </a:r>
          </a:p>
          <a:p>
            <a:pPr lvl="1"/>
            <a:r>
              <a:rPr lang="en-US" dirty="0"/>
              <a:t>Azure Functions &amp; Logic Apps</a:t>
            </a:r>
          </a:p>
          <a:p>
            <a:pPr lvl="1"/>
            <a:r>
              <a:rPr lang="en-US" dirty="0"/>
              <a:t>Databricks / SQL Server</a:t>
            </a:r>
          </a:p>
          <a:p>
            <a:endParaRPr lang="en-US" dirty="0"/>
          </a:p>
          <a:p>
            <a:r>
              <a:rPr lang="en-US" dirty="0"/>
              <a:t>running ADF yourself on a self-hosted IR might be cheaper</a:t>
            </a:r>
          </a:p>
          <a:p>
            <a:r>
              <a:rPr lang="en-US" dirty="0"/>
              <a:t>Fabric is about 8% more expensive</a:t>
            </a:r>
          </a:p>
          <a:p>
            <a:endParaRPr lang="en-US" dirty="0"/>
          </a:p>
          <a:p>
            <a:r>
              <a:rPr lang="en-US" dirty="0"/>
              <a:t>if you get ADF to be really cheap, you’re the most expensive part now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8050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4543" y="439583"/>
            <a:ext cx="7352475" cy="3301144"/>
          </a:xfrm>
        </p:spPr>
        <p:txBody>
          <a:bodyPr>
            <a:normAutofit/>
          </a:bodyPr>
          <a:lstStyle/>
          <a:p>
            <a:r>
              <a:rPr lang="en-US" sz="8000" dirty="0"/>
              <a:t> </a:t>
            </a:r>
            <a:r>
              <a:rPr lang="en-US" sz="16600" dirty="0"/>
              <a:t>thank</a:t>
            </a:r>
            <a:endParaRPr lang="nl-BE" sz="16600" dirty="0"/>
          </a:p>
        </p:txBody>
      </p:sp>
      <p:pic>
        <p:nvPicPr>
          <p:cNvPr id="3" name="Picture 2" descr="A qr code on a black background&#10;&#10;AI-generated content may be incorrect.">
            <a:extLst>
              <a:ext uri="{FF2B5EF4-FFF2-40B4-BE49-F238E27FC236}">
                <a16:creationId xmlns:a16="http://schemas.microsoft.com/office/drawing/2014/main" id="{5555B446-EC39-1480-29AA-74221F7136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9514" y="1716036"/>
            <a:ext cx="5527964" cy="5527964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AC095C73-446D-8EC1-E4FC-B3CA2DB63DD4}"/>
              </a:ext>
            </a:extLst>
          </p:cNvPr>
          <p:cNvSpPr txBox="1">
            <a:spLocks/>
          </p:cNvSpPr>
          <p:nvPr/>
        </p:nvSpPr>
        <p:spPr>
          <a:xfrm>
            <a:off x="812468" y="1813069"/>
            <a:ext cx="7352475" cy="330114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en-GB" sz="6000" b="1" i="0" kern="1200">
                <a:solidFill>
                  <a:schemeClr val="bg1"/>
                </a:solidFill>
                <a:latin typeface="IBM Plex Sans" panose="020B0503050203000203" pitchFamily="34" charset="77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16600" dirty="0"/>
              <a:t>you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86085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8AAD0C2A-109D-F08B-F87B-F2A66F31F6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is ADF?</a:t>
            </a:r>
            <a:endParaRPr lang="en-BE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E0D67705-DD3F-1399-3974-A6DE5A3EFA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670352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F70E06-AAE2-628F-9399-F7EEA466B9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15998"/>
            <a:ext cx="10515600" cy="2826004"/>
          </a:xfrm>
        </p:spPr>
        <p:txBody>
          <a:bodyPr/>
          <a:lstStyle/>
          <a:p>
            <a:pPr marL="0" indent="0">
              <a:buNone/>
            </a:pP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A fully managed,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serverless data integration</a:t>
            </a:r>
            <a:r>
              <a:rPr lang="en-US" sz="3200" b="1" i="1" dirty="0">
                <a:solidFill>
                  <a:srgbClr val="6F6F6F"/>
                </a:solidFill>
                <a:effectLst/>
                <a:latin typeface="Helvetica Neue"/>
              </a:rPr>
              <a:t> 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service.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Visually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integrate data sources with more than 90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built-in connectors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at no added cost. Easily construct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ETL and ELT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processes code-free in an intuitive environment or write your own code.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9976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5B99F1-6468-140F-881C-84DBB74D0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ally a cloud ELT orchestrator</a:t>
            </a:r>
            <a:endParaRPr lang="en-BE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D21935A-579F-9B45-C06C-10844E827F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069" y="1620201"/>
            <a:ext cx="10861861" cy="4491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019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7644A2-4C8F-D5AE-CF34-ED14E08EB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bout ETL?</a:t>
            </a:r>
            <a:endParaRPr lang="en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7A4340-E265-43D1-266A-AFC0762D79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 are transformation options in ADF</a:t>
            </a:r>
          </a:p>
          <a:p>
            <a:pPr lvl="1"/>
            <a:r>
              <a:rPr lang="en-US" dirty="0"/>
              <a:t>Which we can ignore </a:t>
            </a:r>
            <a:r>
              <a:rPr lang="en-US" dirty="0">
                <a:sym typeface="Wingdings" panose="05000000000000000000" pitchFamily="2" charset="2"/>
              </a:rPr>
              <a:t>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flows (aka mapping data flow)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Visual layer on top of Spark runtime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Power Query (aka wrangling data flow)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Like Power BI/Fabric dataflows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endParaRPr lang="en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BAA86B-28E0-DE01-9F34-4F1DD084C1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9880" y="1457011"/>
            <a:ext cx="2773920" cy="24157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C37B3C3-FAEF-A29D-16CD-3A2871AD77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6984" y="3816987"/>
            <a:ext cx="9656816" cy="123560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1E3031-3A4C-DD2B-ABEE-B372C8AAD8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4118" y="4001330"/>
            <a:ext cx="4799682" cy="241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19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1EC0D-4C0A-98CC-FBF9-E881D0167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types of activity</a:t>
            </a:r>
            <a:endParaRPr lang="en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E4C9BF-0454-1164-5630-981A45B93C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Data Movement </a:t>
            </a:r>
            <a:r>
              <a:rPr lang="en-US" dirty="0"/>
              <a:t>activities</a:t>
            </a:r>
          </a:p>
          <a:p>
            <a:pPr lvl="1"/>
            <a:r>
              <a:rPr lang="en-US" dirty="0"/>
              <a:t>Basically the Copy Data activity</a:t>
            </a:r>
          </a:p>
          <a:p>
            <a:pPr lvl="1"/>
            <a:r>
              <a:rPr lang="en-US" dirty="0"/>
              <a:t>Data is copied using Azure compute</a:t>
            </a:r>
          </a:p>
          <a:p>
            <a:endParaRPr lang="en-US" dirty="0"/>
          </a:p>
          <a:p>
            <a:r>
              <a:rPr lang="en-US" b="1" dirty="0"/>
              <a:t>External</a:t>
            </a:r>
            <a:r>
              <a:rPr lang="en-US" dirty="0"/>
              <a:t> (transformation) activities</a:t>
            </a:r>
          </a:p>
          <a:p>
            <a:pPr lvl="1"/>
            <a:r>
              <a:rPr lang="en-US" dirty="0"/>
              <a:t>Compute is not in ADF</a:t>
            </a:r>
          </a:p>
          <a:p>
            <a:pPr lvl="1"/>
            <a:r>
              <a:rPr lang="en-US" dirty="0"/>
              <a:t>E.g. stored procedure, Pig Script,</a:t>
            </a:r>
            <a:br>
              <a:rPr lang="en-US" dirty="0"/>
            </a:br>
            <a:r>
              <a:rPr lang="en-US" dirty="0"/>
              <a:t>Databricks Notebook, Azure Function …</a:t>
            </a:r>
          </a:p>
          <a:p>
            <a:pPr lvl="1"/>
            <a:endParaRPr lang="en-US" dirty="0"/>
          </a:p>
          <a:p>
            <a:r>
              <a:rPr lang="en-US" b="1" dirty="0"/>
              <a:t>Pipeline </a:t>
            </a:r>
            <a:r>
              <a:rPr lang="en-US" dirty="0"/>
              <a:t>(control flow) activities</a:t>
            </a:r>
          </a:p>
          <a:p>
            <a:pPr lvl="1"/>
            <a:r>
              <a:rPr lang="en-US" dirty="0"/>
              <a:t>Lightweight “internal” activities</a:t>
            </a:r>
          </a:p>
          <a:p>
            <a:pPr lvl="1"/>
            <a:r>
              <a:rPr lang="en-US" dirty="0"/>
              <a:t>E.g. Lookup, Set Variable, For Each, If condition …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579687-7E88-D57B-6391-E156C20F1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6264" y="1457011"/>
            <a:ext cx="1859441" cy="117358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E8D3C1-FCA5-4DB4-F2A6-C84C6F6876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9441" y="3329968"/>
            <a:ext cx="5174255" cy="9407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A438347-DDDF-7256-0353-AC8B0C187D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12367" y="4706466"/>
            <a:ext cx="3811206" cy="168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237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274F7-CA08-62E5-1A40-C288CE7E7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86F2A078-1973-E0FF-7CF1-F8D5A297136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DF vs SSIS</a:t>
            </a:r>
            <a:endParaRPr lang="en-BE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321CD674-1742-184E-0497-79FCE261ADB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1859330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1_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ss-summit-2022-speaker-template</Template>
  <TotalTime>10390</TotalTime>
  <Words>1017</Words>
  <Application>Microsoft Office PowerPoint</Application>
  <PresentationFormat>Widescreen</PresentationFormat>
  <Paragraphs>207</Paragraphs>
  <Slides>37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8" baseType="lpstr">
      <vt:lpstr>Arial</vt:lpstr>
      <vt:lpstr>Calibri</vt:lpstr>
      <vt:lpstr>Century Gothic</vt:lpstr>
      <vt:lpstr>Century Gothic Bold</vt:lpstr>
      <vt:lpstr>Consolas</vt:lpstr>
      <vt:lpstr>Helvetica Neue</vt:lpstr>
      <vt:lpstr>IBM Plex Sans</vt:lpstr>
      <vt:lpstr>Wingdings</vt:lpstr>
      <vt:lpstr>AE Template</vt:lpstr>
      <vt:lpstr>1_AE Template</vt:lpstr>
      <vt:lpstr>think-cell Slide</vt:lpstr>
      <vt:lpstr>How I saved 80% on my Azure Data Factory Costs</vt:lpstr>
      <vt:lpstr>Contact</vt:lpstr>
      <vt:lpstr>Outline</vt:lpstr>
      <vt:lpstr>What is ADF?</vt:lpstr>
      <vt:lpstr>PowerPoint Presentation</vt:lpstr>
      <vt:lpstr>Basically a cloud ELT orchestrator</vt:lpstr>
      <vt:lpstr>What about ETL?</vt:lpstr>
      <vt:lpstr>Three types of activity</vt:lpstr>
      <vt:lpstr>ADF vs SSIS</vt:lpstr>
      <vt:lpstr>pipeline = control flow</vt:lpstr>
      <vt:lpstr>activities = control flow tasks</vt:lpstr>
      <vt:lpstr>precedence constraints?</vt:lpstr>
      <vt:lpstr>copy data activity = data flow with only source and destination</vt:lpstr>
      <vt:lpstr>linked service = connection manager</vt:lpstr>
      <vt:lpstr>data set</vt:lpstr>
      <vt:lpstr>integration runtimes</vt:lpstr>
      <vt:lpstr>SSIS vs ADF</vt:lpstr>
      <vt:lpstr>SSIS vs ADF</vt:lpstr>
      <vt:lpstr>How to save on costs</vt:lpstr>
      <vt:lpstr>costs in ADF</vt:lpstr>
      <vt:lpstr>important to remember</vt:lpstr>
      <vt:lpstr>that’s 2 minutes right there</vt:lpstr>
      <vt:lpstr>example</vt:lpstr>
      <vt:lpstr>example</vt:lpstr>
      <vt:lpstr>50% cost saving with one single config</vt:lpstr>
      <vt:lpstr>minimize number of activities</vt:lpstr>
      <vt:lpstr>move compute to somewhere else</vt:lpstr>
      <vt:lpstr>Azure Functions</vt:lpstr>
      <vt:lpstr>PowerPoint Presentation</vt:lpstr>
      <vt:lpstr>Dataflows?</vt:lpstr>
      <vt:lpstr>Get insights in costs</vt:lpstr>
      <vt:lpstr>What about Fabric?</vt:lpstr>
      <vt:lpstr>Fabric uses CU consumption</vt:lpstr>
      <vt:lpstr>ADF vs Fabric</vt:lpstr>
      <vt:lpstr>  conclusion</vt:lpstr>
      <vt:lpstr>conclusion</vt:lpstr>
      <vt:lpstr> thank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e Your SSIS Skills to Azure Data Factory</dc:title>
  <dc:creator>Koen Verbeeck</dc:creator>
  <cp:lastModifiedBy>Koen Verbeeck</cp:lastModifiedBy>
  <cp:revision>25</cp:revision>
  <dcterms:created xsi:type="dcterms:W3CDTF">2022-08-23T10:53:58Z</dcterms:created>
  <dcterms:modified xsi:type="dcterms:W3CDTF">2025-12-05T07:48:09Z</dcterms:modified>
</cp:coreProperties>
</file>